
<file path=[Content_Types].xml><?xml version="1.0" encoding="utf-8"?>
<Types xmlns="http://schemas.openxmlformats.org/package/2006/content-types">
  <Default Extension="xml" ContentType="application/xml"/>
  <Default Extension="jpeg" ContentType="image/jpeg"/>
  <Default Extension="bin" ContentType="application/vnd.openxmlformats-officedocument.presentationml.printerSettings"/>
  <Default Extension="vml" ContentType="application/vnd.openxmlformats-officedocument.vmlDrawing"/>
  <Default Extension="rels" ContentType="application/vnd.openxmlformats-package.relationships+xml"/>
  <Default Extension="emf" ContentType="image/x-em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embeddings/oleObject1.bin" ContentType="application/vnd.openxmlformats-officedocument.oleObject"/>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embeddings/oleObject2.bin" ContentType="application/vnd.openxmlformats-officedocument.oleObject"/>
  <Override PartName="/ppt/tags/tag7.xml" ContentType="application/vnd.openxmlformats-officedocument.presentationml.tags+xml"/>
  <Override PartName="/ppt/tags/tag8.xml" ContentType="application/vnd.openxmlformats-officedocument.presentationml.tags+xml"/>
  <Override PartName="/ppt/embeddings/oleObject3.bin" ContentType="application/vnd.openxmlformats-officedocument.oleObject"/>
  <Override PartName="/ppt/theme/theme2.xml" ContentType="application/vnd.openxmlformats-officedocument.theme+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embeddings/oleObject4.bin" ContentType="application/vnd.openxmlformats-officedocument.oleObject"/>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embeddings/oleObject5.bin" ContentType="application/vnd.openxmlformats-officedocument.oleObject"/>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embeddings/oleObject6.bin" ContentType="application/vnd.openxmlformats-officedocument.oleObject"/>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embeddings/oleObject7.bin" ContentType="application/vnd.openxmlformats-officedocument.oleObject"/>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embeddings/oleObject8.bin" ContentType="application/vnd.openxmlformats-officedocument.oleObject"/>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embeddings/oleObject9.bin" ContentType="application/vnd.openxmlformats-officedocument.oleObject"/>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embeddings/oleObject10.bin" ContentType="application/vnd.openxmlformats-officedocument.oleObject"/>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embeddings/oleObject11.bin" ContentType="application/vnd.openxmlformats-officedocument.oleObject"/>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embeddings/oleObject12.bin" ContentType="application/vnd.openxmlformats-officedocument.oleObject"/>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embeddings/oleObject13.bin" ContentType="application/vnd.openxmlformats-officedocument.oleObject"/>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embeddings/oleObject14.bin" ContentType="application/vnd.openxmlformats-officedocument.oleObject"/>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embeddings/oleObject15.bin" ContentType="application/vnd.openxmlformats-officedocument.oleObject"/>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embeddings/oleObject16.bin" ContentType="application/vnd.openxmlformats-officedocument.oleObject"/>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embeddings/oleObject17.bin" ContentType="application/vnd.openxmlformats-officedocument.oleObject"/>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embeddings/oleObject18.bin" ContentType="application/vnd.openxmlformats-officedocument.oleObject"/>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embeddings/oleObject19.bin" ContentType="application/vnd.openxmlformats-officedocument.oleObject"/>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embeddings/oleObject20.bin" ContentType="application/vnd.openxmlformats-officedocument.oleObject"/>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embeddings/oleObject21.bin" ContentType="application/vnd.openxmlformats-officedocument.oleObject"/>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embeddings/oleObject22.bin" ContentType="application/vnd.openxmlformats-officedocument.oleObject"/>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embeddings/oleObject23.bin" ContentType="application/vnd.openxmlformats-officedocument.oleObject"/>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embeddings/oleObject24.bin" ContentType="application/vnd.openxmlformats-officedocument.oleObject"/>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embeddings/oleObject25.bin" ContentType="application/vnd.openxmlformats-officedocument.oleObject"/>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embeddings/oleObject26.bin" ContentType="application/vnd.openxmlformats-officedocument.oleObject"/>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embeddings/oleObject27.bin" ContentType="application/vnd.openxmlformats-officedocument.oleObject"/>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embeddings/oleObject28.bin" ContentType="application/vnd.openxmlformats-officedocument.oleObject"/>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embeddings/oleObject29.bin" ContentType="application/vnd.openxmlformats-officedocument.oleObject"/>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64" r:id="rId1"/>
  </p:sldMasterIdLst>
  <p:notesMasterIdLst>
    <p:notesMasterId r:id="rId29"/>
  </p:notesMasterIdLst>
  <p:handoutMasterIdLst>
    <p:handoutMasterId r:id="rId30"/>
  </p:handoutMasterIdLst>
  <p:sldIdLst>
    <p:sldId id="829" r:id="rId2"/>
    <p:sldId id="260" r:id="rId3"/>
    <p:sldId id="277" r:id="rId4"/>
    <p:sldId id="279" r:id="rId5"/>
    <p:sldId id="299" r:id="rId6"/>
    <p:sldId id="300" r:id="rId7"/>
    <p:sldId id="302" r:id="rId8"/>
    <p:sldId id="303" r:id="rId9"/>
    <p:sldId id="304" r:id="rId10"/>
    <p:sldId id="306" r:id="rId11"/>
    <p:sldId id="310" r:id="rId12"/>
    <p:sldId id="311" r:id="rId13"/>
    <p:sldId id="312" r:id="rId14"/>
    <p:sldId id="313" r:id="rId15"/>
    <p:sldId id="812" r:id="rId16"/>
    <p:sldId id="314" r:id="rId17"/>
    <p:sldId id="319" r:id="rId18"/>
    <p:sldId id="320" r:id="rId19"/>
    <p:sldId id="321" r:id="rId20"/>
    <p:sldId id="326" r:id="rId21"/>
    <p:sldId id="330" r:id="rId22"/>
    <p:sldId id="331" r:id="rId23"/>
    <p:sldId id="332" r:id="rId24"/>
    <p:sldId id="333" r:id="rId25"/>
    <p:sldId id="334" r:id="rId26"/>
    <p:sldId id="335" r:id="rId27"/>
    <p:sldId id="336" r:id="rId28"/>
  </p:sldIdLst>
  <p:sldSz cx="9144000" cy="6858000" type="screen4x3"/>
  <p:notesSz cx="6797675" cy="9926638"/>
  <p:custDataLst>
    <p:tags r:id="rId32"/>
  </p:custDataLst>
  <p:defaultTextStyle>
    <a:defPPr>
      <a:defRPr lang="en-US"/>
    </a:defPPr>
    <a:lvl1pPr marL="0" algn="l" defTabSz="914239" rtl="0" eaLnBrk="1" latinLnBrk="0" hangingPunct="1">
      <a:defRPr sz="1800" kern="1200">
        <a:solidFill>
          <a:schemeClr val="tx1"/>
        </a:solidFill>
        <a:latin typeface="+mn-lt"/>
        <a:ea typeface="+mn-ea"/>
        <a:cs typeface="+mn-cs"/>
      </a:defRPr>
    </a:lvl1pPr>
    <a:lvl2pPr marL="457119" algn="l" defTabSz="914239" rtl="0" eaLnBrk="1" latinLnBrk="0" hangingPunct="1">
      <a:defRPr sz="1800" kern="1200">
        <a:solidFill>
          <a:schemeClr val="tx1"/>
        </a:solidFill>
        <a:latin typeface="+mn-lt"/>
        <a:ea typeface="+mn-ea"/>
        <a:cs typeface="+mn-cs"/>
      </a:defRPr>
    </a:lvl2pPr>
    <a:lvl3pPr marL="914239" algn="l" defTabSz="914239" rtl="0" eaLnBrk="1" latinLnBrk="0" hangingPunct="1">
      <a:defRPr sz="1800" kern="1200">
        <a:solidFill>
          <a:schemeClr val="tx1"/>
        </a:solidFill>
        <a:latin typeface="+mn-lt"/>
        <a:ea typeface="+mn-ea"/>
        <a:cs typeface="+mn-cs"/>
      </a:defRPr>
    </a:lvl3pPr>
    <a:lvl4pPr marL="1371358" algn="l" defTabSz="914239" rtl="0" eaLnBrk="1" latinLnBrk="0" hangingPunct="1">
      <a:defRPr sz="1800" kern="1200">
        <a:solidFill>
          <a:schemeClr val="tx1"/>
        </a:solidFill>
        <a:latin typeface="+mn-lt"/>
        <a:ea typeface="+mn-ea"/>
        <a:cs typeface="+mn-cs"/>
      </a:defRPr>
    </a:lvl4pPr>
    <a:lvl5pPr marL="1828477" algn="l" defTabSz="914239" rtl="0" eaLnBrk="1" latinLnBrk="0" hangingPunct="1">
      <a:defRPr sz="1800" kern="1200">
        <a:solidFill>
          <a:schemeClr val="tx1"/>
        </a:solidFill>
        <a:latin typeface="+mn-lt"/>
        <a:ea typeface="+mn-ea"/>
        <a:cs typeface="+mn-cs"/>
      </a:defRPr>
    </a:lvl5pPr>
    <a:lvl6pPr marL="2285596" algn="l" defTabSz="914239" rtl="0" eaLnBrk="1" latinLnBrk="0" hangingPunct="1">
      <a:defRPr sz="1800" kern="1200">
        <a:solidFill>
          <a:schemeClr val="tx1"/>
        </a:solidFill>
        <a:latin typeface="+mn-lt"/>
        <a:ea typeface="+mn-ea"/>
        <a:cs typeface="+mn-cs"/>
      </a:defRPr>
    </a:lvl6pPr>
    <a:lvl7pPr marL="2742716" algn="l" defTabSz="914239" rtl="0" eaLnBrk="1" latinLnBrk="0" hangingPunct="1">
      <a:defRPr sz="1800" kern="1200">
        <a:solidFill>
          <a:schemeClr val="tx1"/>
        </a:solidFill>
        <a:latin typeface="+mn-lt"/>
        <a:ea typeface="+mn-ea"/>
        <a:cs typeface="+mn-cs"/>
      </a:defRPr>
    </a:lvl7pPr>
    <a:lvl8pPr marL="3199835" algn="l" defTabSz="914239" rtl="0" eaLnBrk="1" latinLnBrk="0" hangingPunct="1">
      <a:defRPr sz="1800" kern="1200">
        <a:solidFill>
          <a:schemeClr val="tx1"/>
        </a:solidFill>
        <a:latin typeface="+mn-lt"/>
        <a:ea typeface="+mn-ea"/>
        <a:cs typeface="+mn-cs"/>
      </a:defRPr>
    </a:lvl8pPr>
    <a:lvl9pPr marL="3656954" algn="l" defTabSz="914239"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rah Heath" initials="SH" lastIdx="1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224E75"/>
    <a:srgbClr val="1F497D"/>
    <a:srgbClr val="53534D"/>
    <a:srgbClr val="EBE8ED"/>
    <a:srgbClr val="BE873A"/>
    <a:srgbClr val="FAEEDF"/>
    <a:srgbClr val="FFFFFF"/>
    <a:srgbClr val="000000"/>
    <a:srgbClr val="652E8F"/>
    <a:srgbClr val="F4DCB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529" autoAdjust="0"/>
    <p:restoredTop sz="99711" autoAdjust="0"/>
  </p:normalViewPr>
  <p:slideViewPr>
    <p:cSldViewPr snapToGrid="0">
      <p:cViewPr>
        <p:scale>
          <a:sx n="90" d="100"/>
          <a:sy n="90" d="100"/>
        </p:scale>
        <p:origin x="-1360" y="-280"/>
      </p:cViewPr>
      <p:guideLst>
        <p:guide orient="horz" pos="3974"/>
        <p:guide orient="horz" pos="645"/>
        <p:guide pos="5267"/>
        <p:guide pos="522"/>
      </p:guideLst>
    </p:cSldViewPr>
  </p:slideViewPr>
  <p:notesTextViewPr>
    <p:cViewPr>
      <p:scale>
        <a:sx n="100" d="100"/>
        <a:sy n="100" d="100"/>
      </p:scale>
      <p:origin x="0" y="0"/>
    </p:cViewPr>
  </p:notesTextViewPr>
  <p:sorterViewPr>
    <p:cViewPr>
      <p:scale>
        <a:sx n="50" d="100"/>
        <a:sy n="50" d="100"/>
      </p:scale>
      <p:origin x="0" y="0"/>
    </p:cViewPr>
  </p:sorterViewPr>
  <p:notesViewPr>
    <p:cSldViewPr snapToGrid="0" showGuides="1">
      <p:cViewPr varScale="1">
        <p:scale>
          <a:sx n="61" d="100"/>
          <a:sy n="61" d="100"/>
        </p:scale>
        <p:origin x="-2922" y="-96"/>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notesMaster" Target="notesMasters/notesMaster1.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handoutMaster" Target="handoutMasters/handoutMaster1.xml"/><Relationship Id="rId31" Type="http://schemas.openxmlformats.org/officeDocument/2006/relationships/printerSettings" Target="printerSettings/printerSettings1.bin"/><Relationship Id="rId32" Type="http://schemas.openxmlformats.org/officeDocument/2006/relationships/tags" Target="tags/tag1.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commentAuthors" Target="commentAuthors.xml"/><Relationship Id="rId34" Type="http://schemas.openxmlformats.org/officeDocument/2006/relationships/presProps" Target="presProps.xml"/><Relationship Id="rId35" Type="http://schemas.openxmlformats.org/officeDocument/2006/relationships/viewProps" Target="viewProps.xml"/><Relationship Id="rId36" Type="http://schemas.openxmlformats.org/officeDocument/2006/relationships/theme" Target="theme/theme1.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3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AU" dirty="0">
              <a:latin typeface="Garamond"/>
            </a:endParaRPr>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60BCE844-92F8-41D7-8738-647B853CC883}" type="datetimeFigureOut">
              <a:rPr lang="en-AU" smtClean="0">
                <a:latin typeface="Garamond"/>
              </a:rPr>
              <a:pPr/>
              <a:t>25/05/14</a:t>
            </a:fld>
            <a:endParaRPr lang="en-AU" dirty="0">
              <a:latin typeface="Garamond"/>
            </a:endParaRPr>
          </a:p>
        </p:txBody>
      </p:sp>
      <p:sp>
        <p:nvSpPr>
          <p:cNvPr id="4" name="Footer Placeholder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vl1pPr>
          </a:lstStyle>
          <a:p>
            <a:endParaRPr lang="en-AU" dirty="0">
              <a:latin typeface="Garamond"/>
            </a:endParaRPr>
          </a:p>
        </p:txBody>
      </p:sp>
      <p:sp>
        <p:nvSpPr>
          <p:cNvPr id="5" name="Slide Number Placeholder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fld id="{55F64BEF-E611-4CBE-906D-2A2623DAB7C2}" type="slidenum">
              <a:rPr lang="en-AU" smtClean="0">
                <a:latin typeface="Garamond"/>
              </a:rPr>
              <a:pPr/>
              <a:t>‹#›</a:t>
            </a:fld>
            <a:endParaRPr lang="en-AU" dirty="0">
              <a:latin typeface="Garamond"/>
            </a:endParaRPr>
          </a:p>
        </p:txBody>
      </p:sp>
    </p:spTree>
    <p:extLst>
      <p:ext uri="{BB962C8B-B14F-4D97-AF65-F5344CB8AC3E}">
        <p14:creationId xmlns:p14="http://schemas.microsoft.com/office/powerpoint/2010/main" val="349188044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atin typeface="Garamond"/>
              </a:defRPr>
            </a:lvl1pPr>
          </a:lstStyle>
          <a:p>
            <a:endParaRPr lang="en-US" dirty="0"/>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atin typeface="Garamond"/>
              </a:defRPr>
            </a:lvl1pPr>
          </a:lstStyle>
          <a:p>
            <a:fld id="{8943B64C-8010-463E-8C30-B27C851808FD}" type="datetimeFigureOut">
              <a:rPr lang="en-US" smtClean="0"/>
              <a:pPr/>
              <a:t>25/05/14</a:t>
            </a:fld>
            <a:endParaRPr lang="en-US"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atin typeface="Garamond"/>
              </a:defRPr>
            </a:lvl1pPr>
          </a:lstStyle>
          <a:p>
            <a:endParaRPr lang="en-US" dirty="0"/>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atin typeface="Garamond"/>
              </a:defRPr>
            </a:lvl1pPr>
          </a:lstStyle>
          <a:p>
            <a:fld id="{3BFD44CF-BB31-4D98-A2B3-1B67FCF61CBB}" type="slidenum">
              <a:rPr lang="en-US" smtClean="0"/>
              <a:pPr/>
              <a:t>‹#›</a:t>
            </a:fld>
            <a:endParaRPr lang="en-US" dirty="0"/>
          </a:p>
        </p:txBody>
      </p:sp>
    </p:spTree>
    <p:extLst>
      <p:ext uri="{BB962C8B-B14F-4D97-AF65-F5344CB8AC3E}">
        <p14:creationId xmlns:p14="http://schemas.microsoft.com/office/powerpoint/2010/main" val="2247747992"/>
      </p:ext>
    </p:extLst>
  </p:cSld>
  <p:clrMap bg1="lt1" tx1="dk1" bg2="lt2" tx2="dk2" accent1="accent1" accent2="accent2" accent3="accent3" accent4="accent4" accent5="accent5" accent6="accent6" hlink="hlink" folHlink="folHlink"/>
  <p:hf hdr="0" ftr="0" dt="0"/>
  <p:notesStyle>
    <a:lvl1pPr marL="0" algn="l" defTabSz="914239" rtl="0" eaLnBrk="1" latinLnBrk="0" hangingPunct="1">
      <a:defRPr sz="1200" kern="1200">
        <a:solidFill>
          <a:schemeClr val="tx1"/>
        </a:solidFill>
        <a:latin typeface="Garamond"/>
        <a:ea typeface="+mn-ea"/>
        <a:cs typeface="+mn-cs"/>
      </a:defRPr>
    </a:lvl1pPr>
    <a:lvl2pPr marL="457119" algn="l" defTabSz="914239" rtl="0" eaLnBrk="1" latinLnBrk="0" hangingPunct="1">
      <a:defRPr sz="1200" kern="1200">
        <a:solidFill>
          <a:schemeClr val="tx1"/>
        </a:solidFill>
        <a:latin typeface="Garamond"/>
        <a:ea typeface="+mn-ea"/>
        <a:cs typeface="+mn-cs"/>
      </a:defRPr>
    </a:lvl2pPr>
    <a:lvl3pPr marL="914239" algn="l" defTabSz="914239" rtl="0" eaLnBrk="1" latinLnBrk="0" hangingPunct="1">
      <a:defRPr sz="1200" kern="1200">
        <a:solidFill>
          <a:schemeClr val="tx1"/>
        </a:solidFill>
        <a:latin typeface="Garamond"/>
        <a:ea typeface="+mn-ea"/>
        <a:cs typeface="+mn-cs"/>
      </a:defRPr>
    </a:lvl3pPr>
    <a:lvl4pPr marL="1371358" algn="l" defTabSz="914239" rtl="0" eaLnBrk="1" latinLnBrk="0" hangingPunct="1">
      <a:defRPr sz="1200" kern="1200">
        <a:solidFill>
          <a:schemeClr val="tx1"/>
        </a:solidFill>
        <a:latin typeface="Garamond"/>
        <a:ea typeface="+mn-ea"/>
        <a:cs typeface="+mn-cs"/>
      </a:defRPr>
    </a:lvl4pPr>
    <a:lvl5pPr marL="1828477" algn="l" defTabSz="914239" rtl="0" eaLnBrk="1" latinLnBrk="0" hangingPunct="1">
      <a:defRPr sz="1200" kern="1200">
        <a:solidFill>
          <a:schemeClr val="tx1"/>
        </a:solidFill>
        <a:latin typeface="Garamond"/>
        <a:ea typeface="+mn-ea"/>
        <a:cs typeface="+mn-cs"/>
      </a:defRPr>
    </a:lvl5pPr>
    <a:lvl6pPr marL="2285596" algn="l" defTabSz="914239" rtl="0" eaLnBrk="1" latinLnBrk="0" hangingPunct="1">
      <a:defRPr sz="1200" kern="1200">
        <a:solidFill>
          <a:schemeClr val="tx1"/>
        </a:solidFill>
        <a:latin typeface="+mn-lt"/>
        <a:ea typeface="+mn-ea"/>
        <a:cs typeface="+mn-cs"/>
      </a:defRPr>
    </a:lvl6pPr>
    <a:lvl7pPr marL="2742716" algn="l" defTabSz="914239" rtl="0" eaLnBrk="1" latinLnBrk="0" hangingPunct="1">
      <a:defRPr sz="1200" kern="1200">
        <a:solidFill>
          <a:schemeClr val="tx1"/>
        </a:solidFill>
        <a:latin typeface="+mn-lt"/>
        <a:ea typeface="+mn-ea"/>
        <a:cs typeface="+mn-cs"/>
      </a:defRPr>
    </a:lvl7pPr>
    <a:lvl8pPr marL="3199835" algn="l" defTabSz="914239" rtl="0" eaLnBrk="1" latinLnBrk="0" hangingPunct="1">
      <a:defRPr sz="1200" kern="1200">
        <a:solidFill>
          <a:schemeClr val="tx1"/>
        </a:solidFill>
        <a:latin typeface="+mn-lt"/>
        <a:ea typeface="+mn-ea"/>
        <a:cs typeface="+mn-cs"/>
      </a:defRPr>
    </a:lvl8pPr>
    <a:lvl9pPr marL="3656954" algn="l" defTabSz="914239"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4" Type="http://schemas.openxmlformats.org/officeDocument/2006/relationships/tags" Target="../tags/tag6.xml"/><Relationship Id="rId5" Type="http://schemas.openxmlformats.org/officeDocument/2006/relationships/slideMaster" Target="../slideMasters/slideMaster1.xml"/><Relationship Id="rId6" Type="http://schemas.openxmlformats.org/officeDocument/2006/relationships/oleObject" Target="../embeddings/oleObject2.bin"/><Relationship Id="rId7" Type="http://schemas.openxmlformats.org/officeDocument/2006/relationships/image" Target="../media/image1.emf"/><Relationship Id="rId1" Type="http://schemas.openxmlformats.org/officeDocument/2006/relationships/vmlDrawing" Target="../drawings/vmlDrawing2.vml"/><Relationship Id="rId2" Type="http://schemas.openxmlformats.org/officeDocument/2006/relationships/tags" Target="../tags/tag4.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8.xml"/><Relationship Id="rId4" Type="http://schemas.openxmlformats.org/officeDocument/2006/relationships/slideMaster" Target="../slideMasters/slideMaster1.xml"/><Relationship Id="rId5" Type="http://schemas.openxmlformats.org/officeDocument/2006/relationships/oleObject" Target="../embeddings/oleObject3.bin"/><Relationship Id="rId6" Type="http://schemas.openxmlformats.org/officeDocument/2006/relationships/image" Target="../media/image1.emf"/><Relationship Id="rId1" Type="http://schemas.openxmlformats.org/officeDocument/2006/relationships/vmlDrawing" Target="../drawings/vmlDrawing3.vml"/><Relationship Id="rId2" Type="http://schemas.openxmlformats.org/officeDocument/2006/relationships/tags" Target="../tags/tag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279826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1" name="think-cell Slide" r:id="rId6" imgW="6350000" imgH="6350000" progId="TCLayout.ActiveDocument.1">
                  <p:embed/>
                </p:oleObj>
              </mc:Choice>
              <mc:Fallback>
                <p:oleObj name="think-cell Slide" r:id="rId6" imgW="6350000" imgH="6350000" progId="TCLayout.ActiveDocument.1">
                  <p:embed/>
                  <p:pic>
                    <p:nvPicPr>
                      <p:cNvPr id="0" name="Picture 1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10"/>
          <p:cNvSpPr>
            <a:spLocks noGrp="1"/>
          </p:cNvSpPr>
          <p:nvPr>
            <p:ph type="body" sz="quarter" idx="10"/>
            <p:custDataLst>
              <p:tags r:id="rId3"/>
            </p:custDataLst>
          </p:nvPr>
        </p:nvSpPr>
        <p:spPr>
          <a:xfrm>
            <a:off x="755337" y="1974446"/>
            <a:ext cx="7606753" cy="3528656"/>
          </a:xfrm>
          <a:prstGeom prst="rect">
            <a:avLst/>
          </a:prstGeom>
        </p:spPr>
        <p:txBody>
          <a:bodyPr lIns="80147" tIns="40074" rIns="80147" bIns="40074">
            <a:noAutofit/>
          </a:bodyPr>
          <a:lstStyle>
            <a:lvl1pPr>
              <a:buClrTx/>
              <a:defRPr>
                <a:solidFill>
                  <a:schemeClr val="tx2"/>
                </a:solidFill>
              </a:defRPr>
            </a:lvl1pPr>
            <a:lvl2pPr>
              <a:buClrTx/>
              <a:defRPr>
                <a:solidFill>
                  <a:schemeClr val="tx2"/>
                </a:solidFill>
              </a:defRPr>
            </a:lvl2pPr>
            <a:lvl3pPr>
              <a:buClrTx/>
              <a:defRPr>
                <a:solidFill>
                  <a:schemeClr val="tx2"/>
                </a:solidFill>
              </a:defRPr>
            </a:lvl3pPr>
          </a:lstStyle>
          <a:p>
            <a:pPr lvl="0"/>
            <a:r>
              <a:rPr lang="en-AU" dirty="0" smtClean="0"/>
              <a:t>Click to edit Master text styles</a:t>
            </a:r>
          </a:p>
          <a:p>
            <a:pPr lvl="1"/>
            <a:r>
              <a:rPr lang="en-AU" dirty="0" smtClean="0"/>
              <a:t>Second level</a:t>
            </a:r>
          </a:p>
          <a:p>
            <a:pPr lvl="2"/>
            <a:r>
              <a:rPr lang="en-AU" dirty="0" smtClean="0"/>
              <a:t>Third level</a:t>
            </a:r>
          </a:p>
        </p:txBody>
      </p:sp>
      <p:sp>
        <p:nvSpPr>
          <p:cNvPr id="2" name="Title 1"/>
          <p:cNvSpPr>
            <a:spLocks noGrp="1"/>
          </p:cNvSpPr>
          <p:nvPr>
            <p:ph type="title"/>
            <p:custDataLst>
              <p:tags r:id="rId4"/>
            </p:custDataLst>
          </p:nvPr>
        </p:nvSpPr>
        <p:spPr/>
        <p:txBody>
          <a:bodyPr/>
          <a:lstStyle/>
          <a:p>
            <a:r>
              <a:rPr lang="en-US" smtClean="0"/>
              <a:t>Click to edit Master title style</a:t>
            </a:r>
            <a:endParaRPr lang="en-US"/>
          </a:p>
        </p:txBody>
      </p:sp>
      <p:sp>
        <p:nvSpPr>
          <p:cNvPr id="7" name="Footer Placeholder 4"/>
          <p:cNvSpPr>
            <a:spLocks noGrp="1"/>
          </p:cNvSpPr>
          <p:nvPr>
            <p:ph type="ftr" sz="quarter" idx="3"/>
          </p:nvPr>
        </p:nvSpPr>
        <p:spPr>
          <a:xfrm>
            <a:off x="755338" y="6356350"/>
            <a:ext cx="5435912" cy="365125"/>
          </a:xfrm>
          <a:prstGeom prst="rect">
            <a:avLst/>
          </a:prstGeom>
        </p:spPr>
        <p:txBody>
          <a:bodyPr vert="horz" lIns="91440" tIns="45720" rIns="91440" bIns="45720" rtlCol="0" anchor="ctr"/>
          <a:lstStyle>
            <a:lvl1pPr algn="l">
              <a:defRPr sz="1000">
                <a:solidFill>
                  <a:schemeClr val="tx2"/>
                </a:solidFill>
                <a:latin typeface="Garamond" pitchFamily="18" charset="0"/>
              </a:defRPr>
            </a:lvl1pPr>
          </a:lstStyle>
          <a:p>
            <a:r>
              <a:rPr lang="en-US" dirty="0" smtClean="0"/>
              <a:t>neil young |neil@ogcommunicationdesign.com |www.ogcommunicationdesign.com</a:t>
            </a:r>
            <a:endParaRPr lang="en-US" dirty="0"/>
          </a:p>
        </p:txBody>
      </p:sp>
      <p:sp>
        <p:nvSpPr>
          <p:cNvPr id="9" name="Slide Number Placeholder 5"/>
          <p:cNvSpPr>
            <a:spLocks noGrp="1"/>
          </p:cNvSpPr>
          <p:nvPr>
            <p:ph type="sldNum" sz="quarter" idx="4"/>
          </p:nvPr>
        </p:nvSpPr>
        <p:spPr>
          <a:xfrm>
            <a:off x="6227763" y="6356350"/>
            <a:ext cx="2133600" cy="365125"/>
          </a:xfrm>
          <a:prstGeom prst="rect">
            <a:avLst/>
          </a:prstGeom>
        </p:spPr>
        <p:txBody>
          <a:bodyPr vert="horz" lIns="91440" tIns="45720" rIns="91440" bIns="45720" rtlCol="0" anchor="ctr"/>
          <a:lstStyle>
            <a:lvl1pPr algn="r">
              <a:defRPr sz="1000">
                <a:solidFill>
                  <a:schemeClr val="tx2"/>
                </a:solidFill>
                <a:latin typeface="Garamond" pitchFamily="18" charset="0"/>
              </a:defRPr>
            </a:lvl1pPr>
          </a:lstStyle>
          <a:p>
            <a:fld id="{367085BF-FE5B-49F7-9324-33F40C0A2379}" type="slidenum">
              <a:rPr lang="en-US" smtClean="0"/>
              <a:pPr/>
              <a:t>‹#›</a:t>
            </a:fld>
            <a:endParaRPr lang="en-US" dirty="0"/>
          </a:p>
        </p:txBody>
      </p:sp>
    </p:spTree>
  </p:cSld>
  <p:clrMapOvr>
    <a:masterClrMapping/>
  </p:clrMapOvr>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15356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5" name="think-cell Slide" r:id="rId5" imgW="6350000" imgH="6350000" progId="TCLayout.ActiveDocument.1">
                  <p:embed/>
                </p:oleObj>
              </mc:Choice>
              <mc:Fallback>
                <p:oleObj name="think-cell Slide" r:id="rId5" imgW="6350000" imgH="6350000" progId="TCLayout.ActiveDocument.1">
                  <p:embed/>
                  <p:pic>
                    <p:nvPicPr>
                      <p:cNvPr id="0"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5"/>
          <p:cNvSpPr>
            <a:spLocks noGrp="1"/>
          </p:cNvSpPr>
          <p:nvPr userDrawn="1">
            <p:ph type="title" hasCustomPrompt="1"/>
            <p:custDataLst>
              <p:tags r:id="rId3"/>
            </p:custDataLst>
          </p:nvPr>
        </p:nvSpPr>
        <p:spPr>
          <a:xfrm>
            <a:off x="730903" y="741792"/>
            <a:ext cx="7606753" cy="418726"/>
          </a:xfrm>
          <a:prstGeom prst="rect">
            <a:avLst/>
          </a:prstGeom>
          <a:ln>
            <a:noFill/>
          </a:ln>
        </p:spPr>
        <p:txBody>
          <a:bodyPr>
            <a:spAutoFit/>
          </a:bodyPr>
          <a:lstStyle>
            <a:lvl1pPr>
              <a:defRPr>
                <a:solidFill>
                  <a:schemeClr val="tx2"/>
                </a:solidFill>
              </a:defRPr>
            </a:lvl1pPr>
          </a:lstStyle>
          <a:p>
            <a:r>
              <a:rPr lang="en-ZW" dirty="0" smtClean="0"/>
              <a:t>Message title – why are you showing it?</a:t>
            </a:r>
            <a:endParaRPr lang="en-AU" dirty="0"/>
          </a:p>
        </p:txBody>
      </p:sp>
      <p:sp>
        <p:nvSpPr>
          <p:cNvPr id="6" name="Footer Placeholder 4"/>
          <p:cNvSpPr>
            <a:spLocks noGrp="1"/>
          </p:cNvSpPr>
          <p:nvPr>
            <p:ph type="ftr" sz="quarter" idx="3"/>
          </p:nvPr>
        </p:nvSpPr>
        <p:spPr>
          <a:xfrm>
            <a:off x="755338" y="6356350"/>
            <a:ext cx="5435912" cy="365125"/>
          </a:xfrm>
          <a:prstGeom prst="rect">
            <a:avLst/>
          </a:prstGeom>
        </p:spPr>
        <p:txBody>
          <a:bodyPr vert="horz" lIns="91440" tIns="45720" rIns="91440" bIns="45720" rtlCol="0" anchor="ctr"/>
          <a:lstStyle>
            <a:lvl1pPr algn="l">
              <a:defRPr sz="1000">
                <a:solidFill>
                  <a:schemeClr val="tx2"/>
                </a:solidFill>
                <a:latin typeface="Garamond" pitchFamily="18" charset="0"/>
              </a:defRPr>
            </a:lvl1pPr>
          </a:lstStyle>
          <a:p>
            <a:r>
              <a:rPr lang="en-US" dirty="0" smtClean="0"/>
              <a:t>neil young |neil@ogcommunicationdesign.com |www.ogcommunicationdesign.com</a:t>
            </a:r>
            <a:endParaRPr lang="en-US" dirty="0"/>
          </a:p>
        </p:txBody>
      </p:sp>
      <p:sp>
        <p:nvSpPr>
          <p:cNvPr id="7" name="Slide Number Placeholder 5"/>
          <p:cNvSpPr>
            <a:spLocks noGrp="1"/>
          </p:cNvSpPr>
          <p:nvPr>
            <p:ph type="sldNum" sz="quarter" idx="4"/>
          </p:nvPr>
        </p:nvSpPr>
        <p:spPr>
          <a:xfrm>
            <a:off x="6227763" y="6356350"/>
            <a:ext cx="2133600" cy="365125"/>
          </a:xfrm>
          <a:prstGeom prst="rect">
            <a:avLst/>
          </a:prstGeom>
        </p:spPr>
        <p:txBody>
          <a:bodyPr vert="horz" lIns="91440" tIns="45720" rIns="91440" bIns="45720" rtlCol="0" anchor="ctr"/>
          <a:lstStyle>
            <a:lvl1pPr algn="r">
              <a:defRPr sz="1000">
                <a:solidFill>
                  <a:schemeClr val="tx2"/>
                </a:solidFill>
                <a:latin typeface="Garamond" pitchFamily="18" charset="0"/>
              </a:defRPr>
            </a:lvl1pPr>
          </a:lstStyle>
          <a:p>
            <a:fld id="{367085BF-FE5B-49F7-9324-33F40C0A2379}" type="slidenum">
              <a:rPr lang="en-US" smtClean="0"/>
              <a:pPr/>
              <a:t>‹#›</a:t>
            </a:fld>
            <a:endParaRPr lang="en-US" dirty="0"/>
          </a:p>
        </p:txBody>
      </p:sp>
    </p:spTree>
  </p:cSld>
  <p:clrMapOvr>
    <a:masterClrMapping/>
  </p:clrMapOvr>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4" Type="http://schemas.openxmlformats.org/officeDocument/2006/relationships/vmlDrawing" Target="../drawings/vmlDrawing1.vml"/><Relationship Id="rId5" Type="http://schemas.openxmlformats.org/officeDocument/2006/relationships/tags" Target="../tags/tag2.xml"/><Relationship Id="rId6" Type="http://schemas.openxmlformats.org/officeDocument/2006/relationships/tags" Target="../tags/tag3.xml"/><Relationship Id="rId7" Type="http://schemas.openxmlformats.org/officeDocument/2006/relationships/oleObject" Target="../embeddings/oleObject1.bin"/><Relationship Id="rId8" Type="http://schemas.openxmlformats.org/officeDocument/2006/relationships/image" Target="../media/image1.emf"/><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3910988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8" name="think-cell Slide" r:id="rId7" imgW="6350000" imgH="6350000" progId="TCLayout.ActiveDocument.1">
                  <p:embed/>
                </p:oleObj>
              </mc:Choice>
              <mc:Fallback>
                <p:oleObj name="think-cell Slide" r:id="rId7" imgW="6350000" imgH="6350000" progId="TCLayout.ActiveDocument.1">
                  <p:embed/>
                  <p:pic>
                    <p:nvPicPr>
                      <p:cNvPr id="0" name="Picture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Placeholder 2"/>
          <p:cNvSpPr>
            <a:spLocks noGrp="1"/>
          </p:cNvSpPr>
          <p:nvPr>
            <p:ph type="title"/>
            <p:custDataLst>
              <p:tags r:id="rId6"/>
            </p:custDataLst>
          </p:nvPr>
        </p:nvSpPr>
        <p:spPr>
          <a:xfrm>
            <a:off x="755338" y="740274"/>
            <a:ext cx="7606753" cy="725494"/>
          </a:xfrm>
          <a:prstGeom prst="rect">
            <a:avLst/>
          </a:prstGeom>
        </p:spPr>
        <p:txBody>
          <a:bodyPr vert="horz" lIns="80147" tIns="40074" rIns="80147" bIns="40074" rtlCol="0" anchor="t" anchorCtr="0">
            <a:normAutofit/>
          </a:bodyPr>
          <a:lstStyle/>
          <a:p>
            <a:r>
              <a:rPr lang="en-AU" dirty="0" smtClean="0"/>
              <a:t>Click to edit Master title style</a:t>
            </a:r>
            <a:endParaRPr lang="en-AU" dirty="0"/>
          </a:p>
        </p:txBody>
      </p:sp>
      <p:sp>
        <p:nvSpPr>
          <p:cNvPr id="7" name="Footer Placeholder 4"/>
          <p:cNvSpPr>
            <a:spLocks noGrp="1"/>
          </p:cNvSpPr>
          <p:nvPr>
            <p:ph type="ftr" sz="quarter" idx="3"/>
          </p:nvPr>
        </p:nvSpPr>
        <p:spPr>
          <a:xfrm>
            <a:off x="755338" y="6356350"/>
            <a:ext cx="5435912" cy="365125"/>
          </a:xfrm>
          <a:prstGeom prst="rect">
            <a:avLst/>
          </a:prstGeom>
        </p:spPr>
        <p:txBody>
          <a:bodyPr vert="horz" lIns="91440" tIns="45720" rIns="91440" bIns="45720" rtlCol="0" anchor="ctr"/>
          <a:lstStyle>
            <a:lvl1pPr algn="l">
              <a:defRPr sz="1000">
                <a:solidFill>
                  <a:schemeClr val="tx2"/>
                </a:solidFill>
                <a:latin typeface="Garamond" pitchFamily="18" charset="0"/>
              </a:defRPr>
            </a:lvl1pPr>
          </a:lstStyle>
          <a:p>
            <a:r>
              <a:rPr lang="en-US" dirty="0" smtClean="0"/>
              <a:t>neil young |neil@ogcommunicationdesign.com |www.ogcommunicationdesign.com</a:t>
            </a:r>
            <a:endParaRPr lang="en-US" dirty="0"/>
          </a:p>
        </p:txBody>
      </p:sp>
      <p:sp>
        <p:nvSpPr>
          <p:cNvPr id="8" name="Slide Number Placeholder 5"/>
          <p:cNvSpPr>
            <a:spLocks noGrp="1"/>
          </p:cNvSpPr>
          <p:nvPr>
            <p:ph type="sldNum" sz="quarter" idx="4"/>
          </p:nvPr>
        </p:nvSpPr>
        <p:spPr>
          <a:xfrm>
            <a:off x="6227763" y="6356350"/>
            <a:ext cx="2133600" cy="365125"/>
          </a:xfrm>
          <a:prstGeom prst="rect">
            <a:avLst/>
          </a:prstGeom>
        </p:spPr>
        <p:txBody>
          <a:bodyPr vert="horz" lIns="91440" tIns="45720" rIns="91440" bIns="45720" rtlCol="0" anchor="ctr"/>
          <a:lstStyle>
            <a:lvl1pPr algn="r">
              <a:defRPr sz="1000">
                <a:solidFill>
                  <a:schemeClr val="tx2"/>
                </a:solidFill>
                <a:latin typeface="Garamond" pitchFamily="18" charset="0"/>
              </a:defRPr>
            </a:lvl1pPr>
          </a:lstStyle>
          <a:p>
            <a:fld id="{367085BF-FE5B-49F7-9324-33F40C0A2379}"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666" r:id="rId1"/>
    <p:sldLayoutId id="2147483672" r:id="rId2"/>
  </p:sldLayoutIdLst>
  <p:timing>
    <p:tnLst>
      <p:par>
        <p:cTn xmlns:p14="http://schemas.microsoft.com/office/powerpoint/2010/main" id="1" dur="indefinite" restart="never" nodeType="tmRoot"/>
      </p:par>
    </p:tnLst>
  </p:timing>
  <p:hf hdr="0" dt="0"/>
  <p:txStyles>
    <p:titleStyle>
      <a:lvl1pPr algn="l" defTabSz="914239" rtl="0" eaLnBrk="1" latinLnBrk="0" hangingPunct="1">
        <a:spcBef>
          <a:spcPct val="0"/>
        </a:spcBef>
        <a:buNone/>
        <a:defRPr sz="2100" i="1" kern="1200">
          <a:solidFill>
            <a:schemeClr val="tx2"/>
          </a:solidFill>
          <a:latin typeface="Garamond" pitchFamily="18" charset="0"/>
          <a:ea typeface="+mj-ea"/>
          <a:cs typeface="+mj-cs"/>
        </a:defRPr>
      </a:lvl1pPr>
    </p:titleStyle>
    <p:bodyStyle>
      <a:lvl1pPr marL="342839" indent="-342839" algn="l" defTabSz="914239" rtl="0" eaLnBrk="1" latinLnBrk="0" hangingPunct="1">
        <a:spcBef>
          <a:spcPct val="20000"/>
        </a:spcBef>
        <a:buFont typeface="Arial" pitchFamily="34" charset="0"/>
        <a:buChar char="•"/>
        <a:defRPr sz="1800" kern="1200">
          <a:solidFill>
            <a:schemeClr val="tx2"/>
          </a:solidFill>
          <a:latin typeface="Garamond" pitchFamily="18" charset="0"/>
          <a:ea typeface="+mn-ea"/>
          <a:cs typeface="+mn-cs"/>
        </a:defRPr>
      </a:lvl1pPr>
      <a:lvl2pPr marL="742819" indent="-285700" algn="l" defTabSz="914239" rtl="0" eaLnBrk="1" latinLnBrk="0" hangingPunct="1">
        <a:spcBef>
          <a:spcPct val="20000"/>
        </a:spcBef>
        <a:buFont typeface="Arial" pitchFamily="34" charset="0"/>
        <a:buChar char="–"/>
        <a:defRPr sz="1800" kern="1200">
          <a:solidFill>
            <a:schemeClr val="tx2"/>
          </a:solidFill>
          <a:latin typeface="Garamond" pitchFamily="18" charset="0"/>
          <a:ea typeface="+mn-ea"/>
          <a:cs typeface="+mn-cs"/>
        </a:defRPr>
      </a:lvl2pPr>
      <a:lvl3pPr marL="1142798" indent="-228560" algn="l" defTabSz="914239" rtl="0" eaLnBrk="1" latinLnBrk="0" hangingPunct="1">
        <a:spcBef>
          <a:spcPct val="20000"/>
        </a:spcBef>
        <a:buFont typeface="Garamond" pitchFamily="18" charset="0"/>
        <a:buChar char="-"/>
        <a:defRPr sz="1800" kern="1200">
          <a:solidFill>
            <a:schemeClr val="tx2"/>
          </a:solidFill>
          <a:latin typeface="Garamond" pitchFamily="18" charset="0"/>
          <a:ea typeface="+mn-ea"/>
          <a:cs typeface="+mn-cs"/>
        </a:defRPr>
      </a:lvl3pPr>
      <a:lvl4pPr marL="1371358" indent="0" algn="l" defTabSz="914239" rtl="0" eaLnBrk="1" latinLnBrk="0" hangingPunct="1">
        <a:spcBef>
          <a:spcPct val="20000"/>
        </a:spcBef>
        <a:buFont typeface="Arial" pitchFamily="34" charset="0"/>
        <a:buNone/>
        <a:defRPr sz="2000" kern="1200">
          <a:solidFill>
            <a:schemeClr val="tx2"/>
          </a:solidFill>
          <a:latin typeface="Garamond" pitchFamily="18" charset="0"/>
          <a:ea typeface="+mn-ea"/>
          <a:cs typeface="+mn-cs"/>
        </a:defRPr>
      </a:lvl4pPr>
      <a:lvl5pPr marL="1828477" indent="0" algn="l" defTabSz="914239" rtl="0" eaLnBrk="1" latinLnBrk="0" hangingPunct="1">
        <a:spcBef>
          <a:spcPct val="20000"/>
        </a:spcBef>
        <a:buFont typeface="Arial" pitchFamily="34" charset="0"/>
        <a:buNone/>
        <a:defRPr sz="2000" kern="1200">
          <a:solidFill>
            <a:schemeClr val="tx2"/>
          </a:solidFill>
          <a:latin typeface="Garamond" pitchFamily="18" charset="0"/>
          <a:ea typeface="+mn-ea"/>
          <a:cs typeface="+mn-cs"/>
        </a:defRPr>
      </a:lvl5pPr>
      <a:lvl6pPr marL="2514156"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75"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95"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14"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9" rtl="0" eaLnBrk="1" latinLnBrk="0" hangingPunct="1">
        <a:defRPr sz="1800" kern="1200">
          <a:solidFill>
            <a:schemeClr val="tx1"/>
          </a:solidFill>
          <a:latin typeface="+mn-lt"/>
          <a:ea typeface="+mn-ea"/>
          <a:cs typeface="+mn-cs"/>
        </a:defRPr>
      </a:lvl1pPr>
      <a:lvl2pPr marL="457119" algn="l" defTabSz="914239" rtl="0" eaLnBrk="1" latinLnBrk="0" hangingPunct="1">
        <a:defRPr sz="1800" kern="1200">
          <a:solidFill>
            <a:schemeClr val="tx1"/>
          </a:solidFill>
          <a:latin typeface="+mn-lt"/>
          <a:ea typeface="+mn-ea"/>
          <a:cs typeface="+mn-cs"/>
        </a:defRPr>
      </a:lvl2pPr>
      <a:lvl3pPr marL="914239" algn="l" defTabSz="914239" rtl="0" eaLnBrk="1" latinLnBrk="0" hangingPunct="1">
        <a:defRPr sz="1800" kern="1200">
          <a:solidFill>
            <a:schemeClr val="tx1"/>
          </a:solidFill>
          <a:latin typeface="+mn-lt"/>
          <a:ea typeface="+mn-ea"/>
          <a:cs typeface="+mn-cs"/>
        </a:defRPr>
      </a:lvl3pPr>
      <a:lvl4pPr marL="1371358" algn="l" defTabSz="914239" rtl="0" eaLnBrk="1" latinLnBrk="0" hangingPunct="1">
        <a:defRPr sz="1800" kern="1200">
          <a:solidFill>
            <a:schemeClr val="tx1"/>
          </a:solidFill>
          <a:latin typeface="+mn-lt"/>
          <a:ea typeface="+mn-ea"/>
          <a:cs typeface="+mn-cs"/>
        </a:defRPr>
      </a:lvl4pPr>
      <a:lvl5pPr marL="1828477" algn="l" defTabSz="914239" rtl="0" eaLnBrk="1" latinLnBrk="0" hangingPunct="1">
        <a:defRPr sz="1800" kern="1200">
          <a:solidFill>
            <a:schemeClr val="tx1"/>
          </a:solidFill>
          <a:latin typeface="+mn-lt"/>
          <a:ea typeface="+mn-ea"/>
          <a:cs typeface="+mn-cs"/>
        </a:defRPr>
      </a:lvl5pPr>
      <a:lvl6pPr marL="2285596" algn="l" defTabSz="914239" rtl="0" eaLnBrk="1" latinLnBrk="0" hangingPunct="1">
        <a:defRPr sz="1800" kern="1200">
          <a:solidFill>
            <a:schemeClr val="tx1"/>
          </a:solidFill>
          <a:latin typeface="+mn-lt"/>
          <a:ea typeface="+mn-ea"/>
          <a:cs typeface="+mn-cs"/>
        </a:defRPr>
      </a:lvl6pPr>
      <a:lvl7pPr marL="2742716" algn="l" defTabSz="914239" rtl="0" eaLnBrk="1" latinLnBrk="0" hangingPunct="1">
        <a:defRPr sz="1800" kern="1200">
          <a:solidFill>
            <a:schemeClr val="tx1"/>
          </a:solidFill>
          <a:latin typeface="+mn-lt"/>
          <a:ea typeface="+mn-ea"/>
          <a:cs typeface="+mn-cs"/>
        </a:defRPr>
      </a:lvl7pPr>
      <a:lvl8pPr marL="3199835" algn="l" defTabSz="914239" rtl="0" eaLnBrk="1" latinLnBrk="0" hangingPunct="1">
        <a:defRPr sz="1800" kern="1200">
          <a:solidFill>
            <a:schemeClr val="tx1"/>
          </a:solidFill>
          <a:latin typeface="+mn-lt"/>
          <a:ea typeface="+mn-ea"/>
          <a:cs typeface="+mn-cs"/>
        </a:defRPr>
      </a:lvl8pPr>
      <a:lvl9pPr marL="3656954" algn="l" defTabSz="91423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jpeg"/><Relationship Id="rId3"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tags" Target="../tags/tag103.xml"/><Relationship Id="rId4" Type="http://schemas.openxmlformats.org/officeDocument/2006/relationships/tags" Target="../tags/tag104.xml"/><Relationship Id="rId5" Type="http://schemas.openxmlformats.org/officeDocument/2006/relationships/tags" Target="../tags/tag105.xml"/><Relationship Id="rId6" Type="http://schemas.openxmlformats.org/officeDocument/2006/relationships/tags" Target="../tags/tag106.xml"/><Relationship Id="rId7" Type="http://schemas.openxmlformats.org/officeDocument/2006/relationships/slideLayout" Target="../slideLayouts/slideLayout2.xml"/><Relationship Id="rId8" Type="http://schemas.openxmlformats.org/officeDocument/2006/relationships/oleObject" Target="../embeddings/oleObject12.bin"/><Relationship Id="rId9" Type="http://schemas.openxmlformats.org/officeDocument/2006/relationships/image" Target="../media/image1.emf"/><Relationship Id="rId1" Type="http://schemas.openxmlformats.org/officeDocument/2006/relationships/vmlDrawing" Target="../drawings/vmlDrawing12.vml"/><Relationship Id="rId2" Type="http://schemas.openxmlformats.org/officeDocument/2006/relationships/tags" Target="../tags/tag102.xml"/></Relationships>
</file>

<file path=ppt/slides/_rels/slide11.xml.rels><?xml version="1.0" encoding="UTF-8" standalone="yes"?>
<Relationships xmlns="http://schemas.openxmlformats.org/package/2006/relationships"><Relationship Id="rId3" Type="http://schemas.openxmlformats.org/officeDocument/2006/relationships/tags" Target="../tags/tag108.xml"/><Relationship Id="rId4" Type="http://schemas.openxmlformats.org/officeDocument/2006/relationships/tags" Target="../tags/tag109.xml"/><Relationship Id="rId5" Type="http://schemas.openxmlformats.org/officeDocument/2006/relationships/tags" Target="../tags/tag110.xml"/><Relationship Id="rId6" Type="http://schemas.openxmlformats.org/officeDocument/2006/relationships/tags" Target="../tags/tag111.xml"/><Relationship Id="rId7" Type="http://schemas.openxmlformats.org/officeDocument/2006/relationships/tags" Target="../tags/tag112.xml"/><Relationship Id="rId8" Type="http://schemas.openxmlformats.org/officeDocument/2006/relationships/tags" Target="../tags/tag113.xml"/><Relationship Id="rId9" Type="http://schemas.openxmlformats.org/officeDocument/2006/relationships/slideLayout" Target="../slideLayouts/slideLayout2.xml"/><Relationship Id="rId10" Type="http://schemas.openxmlformats.org/officeDocument/2006/relationships/oleObject" Target="../embeddings/oleObject13.bin"/><Relationship Id="rId11" Type="http://schemas.openxmlformats.org/officeDocument/2006/relationships/image" Target="../media/image1.emf"/><Relationship Id="rId1" Type="http://schemas.openxmlformats.org/officeDocument/2006/relationships/vmlDrawing" Target="../drawings/vmlDrawing13.vml"/><Relationship Id="rId2" Type="http://schemas.openxmlformats.org/officeDocument/2006/relationships/tags" Target="../tags/tag107.xml"/></Relationships>
</file>

<file path=ppt/slides/_rels/slide12.xml.rels><?xml version="1.0" encoding="UTF-8" standalone="yes"?>
<Relationships xmlns="http://schemas.openxmlformats.org/package/2006/relationships"><Relationship Id="rId11" Type="http://schemas.openxmlformats.org/officeDocument/2006/relationships/slideLayout" Target="../slideLayouts/slideLayout2.xml"/><Relationship Id="rId12" Type="http://schemas.openxmlformats.org/officeDocument/2006/relationships/oleObject" Target="../embeddings/oleObject14.bin"/><Relationship Id="rId13" Type="http://schemas.openxmlformats.org/officeDocument/2006/relationships/image" Target="../media/image1.emf"/><Relationship Id="rId1" Type="http://schemas.openxmlformats.org/officeDocument/2006/relationships/vmlDrawing" Target="../drawings/vmlDrawing14.vml"/><Relationship Id="rId2" Type="http://schemas.openxmlformats.org/officeDocument/2006/relationships/tags" Target="../tags/tag114.xml"/><Relationship Id="rId3" Type="http://schemas.openxmlformats.org/officeDocument/2006/relationships/tags" Target="../tags/tag115.xml"/><Relationship Id="rId4" Type="http://schemas.openxmlformats.org/officeDocument/2006/relationships/tags" Target="../tags/tag116.xml"/><Relationship Id="rId5" Type="http://schemas.openxmlformats.org/officeDocument/2006/relationships/tags" Target="../tags/tag117.xml"/><Relationship Id="rId6" Type="http://schemas.openxmlformats.org/officeDocument/2006/relationships/tags" Target="../tags/tag118.xml"/><Relationship Id="rId7" Type="http://schemas.openxmlformats.org/officeDocument/2006/relationships/tags" Target="../tags/tag119.xml"/><Relationship Id="rId8" Type="http://schemas.openxmlformats.org/officeDocument/2006/relationships/tags" Target="../tags/tag120.xml"/><Relationship Id="rId9" Type="http://schemas.openxmlformats.org/officeDocument/2006/relationships/tags" Target="../tags/tag121.xml"/><Relationship Id="rId10" Type="http://schemas.openxmlformats.org/officeDocument/2006/relationships/tags" Target="../tags/tag122.xml"/></Relationships>
</file>

<file path=ppt/slides/_rels/slide13.xml.rels><?xml version="1.0" encoding="UTF-8" standalone="yes"?>
<Relationships xmlns="http://schemas.openxmlformats.org/package/2006/relationships"><Relationship Id="rId11" Type="http://schemas.openxmlformats.org/officeDocument/2006/relationships/tags" Target="../tags/tag132.xml"/><Relationship Id="rId12" Type="http://schemas.openxmlformats.org/officeDocument/2006/relationships/tags" Target="../tags/tag133.xml"/><Relationship Id="rId13" Type="http://schemas.openxmlformats.org/officeDocument/2006/relationships/slideLayout" Target="../slideLayouts/slideLayout2.xml"/><Relationship Id="rId14" Type="http://schemas.openxmlformats.org/officeDocument/2006/relationships/oleObject" Target="../embeddings/oleObject15.bin"/><Relationship Id="rId15" Type="http://schemas.openxmlformats.org/officeDocument/2006/relationships/image" Target="../media/image1.emf"/><Relationship Id="rId1" Type="http://schemas.openxmlformats.org/officeDocument/2006/relationships/vmlDrawing" Target="../drawings/vmlDrawing15.vml"/><Relationship Id="rId2" Type="http://schemas.openxmlformats.org/officeDocument/2006/relationships/tags" Target="../tags/tag123.xml"/><Relationship Id="rId3" Type="http://schemas.openxmlformats.org/officeDocument/2006/relationships/tags" Target="../tags/tag124.xml"/><Relationship Id="rId4" Type="http://schemas.openxmlformats.org/officeDocument/2006/relationships/tags" Target="../tags/tag125.xml"/><Relationship Id="rId5" Type="http://schemas.openxmlformats.org/officeDocument/2006/relationships/tags" Target="../tags/tag126.xml"/><Relationship Id="rId6" Type="http://schemas.openxmlformats.org/officeDocument/2006/relationships/tags" Target="../tags/tag127.xml"/><Relationship Id="rId7" Type="http://schemas.openxmlformats.org/officeDocument/2006/relationships/tags" Target="../tags/tag128.xml"/><Relationship Id="rId8" Type="http://schemas.openxmlformats.org/officeDocument/2006/relationships/tags" Target="../tags/tag129.xml"/><Relationship Id="rId9" Type="http://schemas.openxmlformats.org/officeDocument/2006/relationships/tags" Target="../tags/tag130.xml"/><Relationship Id="rId10" Type="http://schemas.openxmlformats.org/officeDocument/2006/relationships/tags" Target="../tags/tag131.xml"/></Relationships>
</file>

<file path=ppt/slides/_rels/slide14.xml.rels><?xml version="1.0" encoding="UTF-8" standalone="yes"?>
<Relationships xmlns="http://schemas.openxmlformats.org/package/2006/relationships"><Relationship Id="rId11" Type="http://schemas.openxmlformats.org/officeDocument/2006/relationships/tags" Target="../tags/tag143.xml"/><Relationship Id="rId12" Type="http://schemas.openxmlformats.org/officeDocument/2006/relationships/tags" Target="../tags/tag144.xml"/><Relationship Id="rId13" Type="http://schemas.openxmlformats.org/officeDocument/2006/relationships/tags" Target="../tags/tag145.xml"/><Relationship Id="rId14" Type="http://schemas.openxmlformats.org/officeDocument/2006/relationships/slideLayout" Target="../slideLayouts/slideLayout2.xml"/><Relationship Id="rId15" Type="http://schemas.openxmlformats.org/officeDocument/2006/relationships/oleObject" Target="../embeddings/oleObject16.bin"/><Relationship Id="rId16" Type="http://schemas.openxmlformats.org/officeDocument/2006/relationships/image" Target="../media/image1.emf"/><Relationship Id="rId1" Type="http://schemas.openxmlformats.org/officeDocument/2006/relationships/vmlDrawing" Target="../drawings/vmlDrawing16.vml"/><Relationship Id="rId2" Type="http://schemas.openxmlformats.org/officeDocument/2006/relationships/tags" Target="../tags/tag134.xml"/><Relationship Id="rId3" Type="http://schemas.openxmlformats.org/officeDocument/2006/relationships/tags" Target="../tags/tag135.xml"/><Relationship Id="rId4" Type="http://schemas.openxmlformats.org/officeDocument/2006/relationships/tags" Target="../tags/tag136.xml"/><Relationship Id="rId5" Type="http://schemas.openxmlformats.org/officeDocument/2006/relationships/tags" Target="../tags/tag137.xml"/><Relationship Id="rId6" Type="http://schemas.openxmlformats.org/officeDocument/2006/relationships/tags" Target="../tags/tag138.xml"/><Relationship Id="rId7" Type="http://schemas.openxmlformats.org/officeDocument/2006/relationships/tags" Target="../tags/tag139.xml"/><Relationship Id="rId8" Type="http://schemas.openxmlformats.org/officeDocument/2006/relationships/tags" Target="../tags/tag140.xml"/><Relationship Id="rId9" Type="http://schemas.openxmlformats.org/officeDocument/2006/relationships/tags" Target="../tags/tag141.xml"/><Relationship Id="rId10" Type="http://schemas.openxmlformats.org/officeDocument/2006/relationships/tags" Target="../tags/tag142.xml"/></Relationships>
</file>

<file path=ppt/slides/_rels/slide15.xml.rels><?xml version="1.0" encoding="UTF-8" standalone="yes"?>
<Relationships xmlns="http://schemas.openxmlformats.org/package/2006/relationships"><Relationship Id="rId11" Type="http://schemas.openxmlformats.org/officeDocument/2006/relationships/tags" Target="../tags/tag155.xml"/><Relationship Id="rId12" Type="http://schemas.openxmlformats.org/officeDocument/2006/relationships/tags" Target="../tags/tag156.xml"/><Relationship Id="rId13" Type="http://schemas.openxmlformats.org/officeDocument/2006/relationships/tags" Target="../tags/tag157.xml"/><Relationship Id="rId14" Type="http://schemas.openxmlformats.org/officeDocument/2006/relationships/tags" Target="../tags/tag158.xml"/><Relationship Id="rId15" Type="http://schemas.openxmlformats.org/officeDocument/2006/relationships/tags" Target="../tags/tag159.xml"/><Relationship Id="rId16" Type="http://schemas.openxmlformats.org/officeDocument/2006/relationships/slideLayout" Target="../slideLayouts/slideLayout2.xml"/><Relationship Id="rId17" Type="http://schemas.openxmlformats.org/officeDocument/2006/relationships/oleObject" Target="../embeddings/oleObject17.bin"/><Relationship Id="rId18" Type="http://schemas.openxmlformats.org/officeDocument/2006/relationships/image" Target="../media/image1.emf"/><Relationship Id="rId1" Type="http://schemas.openxmlformats.org/officeDocument/2006/relationships/vmlDrawing" Target="../drawings/vmlDrawing17.vml"/><Relationship Id="rId2" Type="http://schemas.openxmlformats.org/officeDocument/2006/relationships/tags" Target="../tags/tag146.xml"/><Relationship Id="rId3" Type="http://schemas.openxmlformats.org/officeDocument/2006/relationships/tags" Target="../tags/tag147.xml"/><Relationship Id="rId4" Type="http://schemas.openxmlformats.org/officeDocument/2006/relationships/tags" Target="../tags/tag148.xml"/><Relationship Id="rId5" Type="http://schemas.openxmlformats.org/officeDocument/2006/relationships/tags" Target="../tags/tag149.xml"/><Relationship Id="rId6" Type="http://schemas.openxmlformats.org/officeDocument/2006/relationships/tags" Target="../tags/tag150.xml"/><Relationship Id="rId7" Type="http://schemas.openxmlformats.org/officeDocument/2006/relationships/tags" Target="../tags/tag151.xml"/><Relationship Id="rId8" Type="http://schemas.openxmlformats.org/officeDocument/2006/relationships/tags" Target="../tags/tag152.xml"/><Relationship Id="rId9" Type="http://schemas.openxmlformats.org/officeDocument/2006/relationships/tags" Target="../tags/tag153.xml"/><Relationship Id="rId10" Type="http://schemas.openxmlformats.org/officeDocument/2006/relationships/tags" Target="../tags/tag154.xml"/></Relationships>
</file>

<file path=ppt/slides/_rels/slide16.xml.rels><?xml version="1.0" encoding="UTF-8" standalone="yes"?>
<Relationships xmlns="http://schemas.openxmlformats.org/package/2006/relationships"><Relationship Id="rId11" Type="http://schemas.openxmlformats.org/officeDocument/2006/relationships/slideLayout" Target="../slideLayouts/slideLayout2.xml"/><Relationship Id="rId12" Type="http://schemas.openxmlformats.org/officeDocument/2006/relationships/oleObject" Target="../embeddings/oleObject18.bin"/><Relationship Id="rId13" Type="http://schemas.openxmlformats.org/officeDocument/2006/relationships/image" Target="../media/image1.emf"/><Relationship Id="rId1" Type="http://schemas.openxmlformats.org/officeDocument/2006/relationships/vmlDrawing" Target="../drawings/vmlDrawing18.vml"/><Relationship Id="rId2" Type="http://schemas.openxmlformats.org/officeDocument/2006/relationships/tags" Target="../tags/tag160.xml"/><Relationship Id="rId3" Type="http://schemas.openxmlformats.org/officeDocument/2006/relationships/tags" Target="../tags/tag161.xml"/><Relationship Id="rId4" Type="http://schemas.openxmlformats.org/officeDocument/2006/relationships/tags" Target="../tags/tag162.xml"/><Relationship Id="rId5" Type="http://schemas.openxmlformats.org/officeDocument/2006/relationships/tags" Target="../tags/tag163.xml"/><Relationship Id="rId6" Type="http://schemas.openxmlformats.org/officeDocument/2006/relationships/tags" Target="../tags/tag164.xml"/><Relationship Id="rId7" Type="http://schemas.openxmlformats.org/officeDocument/2006/relationships/tags" Target="../tags/tag165.xml"/><Relationship Id="rId8" Type="http://schemas.openxmlformats.org/officeDocument/2006/relationships/tags" Target="../tags/tag166.xml"/><Relationship Id="rId9" Type="http://schemas.openxmlformats.org/officeDocument/2006/relationships/tags" Target="../tags/tag167.xml"/><Relationship Id="rId10" Type="http://schemas.openxmlformats.org/officeDocument/2006/relationships/tags" Target="../tags/tag168.xml"/></Relationships>
</file>

<file path=ppt/slides/_rels/slide17.xml.rels><?xml version="1.0" encoding="UTF-8" standalone="yes"?>
<Relationships xmlns="http://schemas.openxmlformats.org/package/2006/relationships"><Relationship Id="rId3" Type="http://schemas.openxmlformats.org/officeDocument/2006/relationships/tags" Target="../tags/tag170.xml"/><Relationship Id="rId4" Type="http://schemas.openxmlformats.org/officeDocument/2006/relationships/tags" Target="../tags/tag171.xml"/><Relationship Id="rId5" Type="http://schemas.openxmlformats.org/officeDocument/2006/relationships/tags" Target="../tags/tag172.xml"/><Relationship Id="rId6" Type="http://schemas.openxmlformats.org/officeDocument/2006/relationships/tags" Target="../tags/tag173.xml"/><Relationship Id="rId7" Type="http://schemas.openxmlformats.org/officeDocument/2006/relationships/slideLayout" Target="../slideLayouts/slideLayout2.xml"/><Relationship Id="rId8" Type="http://schemas.openxmlformats.org/officeDocument/2006/relationships/oleObject" Target="../embeddings/oleObject19.bin"/><Relationship Id="rId9" Type="http://schemas.openxmlformats.org/officeDocument/2006/relationships/image" Target="../media/image1.emf"/><Relationship Id="rId1" Type="http://schemas.openxmlformats.org/officeDocument/2006/relationships/vmlDrawing" Target="../drawings/vmlDrawing19.vml"/><Relationship Id="rId2" Type="http://schemas.openxmlformats.org/officeDocument/2006/relationships/tags" Target="../tags/tag169.xml"/></Relationships>
</file>

<file path=ppt/slides/_rels/slide18.xml.rels><?xml version="1.0" encoding="UTF-8" standalone="yes"?>
<Relationships xmlns="http://schemas.openxmlformats.org/package/2006/relationships"><Relationship Id="rId3" Type="http://schemas.openxmlformats.org/officeDocument/2006/relationships/tags" Target="../tags/tag175.xml"/><Relationship Id="rId4" Type="http://schemas.openxmlformats.org/officeDocument/2006/relationships/tags" Target="../tags/tag176.xml"/><Relationship Id="rId5" Type="http://schemas.openxmlformats.org/officeDocument/2006/relationships/tags" Target="../tags/tag177.xml"/><Relationship Id="rId6" Type="http://schemas.openxmlformats.org/officeDocument/2006/relationships/tags" Target="../tags/tag178.xml"/><Relationship Id="rId7" Type="http://schemas.openxmlformats.org/officeDocument/2006/relationships/slideLayout" Target="../slideLayouts/slideLayout2.xml"/><Relationship Id="rId8" Type="http://schemas.openxmlformats.org/officeDocument/2006/relationships/oleObject" Target="../embeddings/oleObject20.bin"/><Relationship Id="rId9" Type="http://schemas.openxmlformats.org/officeDocument/2006/relationships/image" Target="../media/image1.emf"/><Relationship Id="rId1" Type="http://schemas.openxmlformats.org/officeDocument/2006/relationships/vmlDrawing" Target="../drawings/vmlDrawing20.vml"/><Relationship Id="rId2" Type="http://schemas.openxmlformats.org/officeDocument/2006/relationships/tags" Target="../tags/tag174.xml"/></Relationships>
</file>

<file path=ppt/slides/_rels/slide19.xml.rels><?xml version="1.0" encoding="UTF-8" standalone="yes"?>
<Relationships xmlns="http://schemas.openxmlformats.org/package/2006/relationships"><Relationship Id="rId9" Type="http://schemas.openxmlformats.org/officeDocument/2006/relationships/tags" Target="../tags/tag186.xml"/><Relationship Id="rId20" Type="http://schemas.openxmlformats.org/officeDocument/2006/relationships/tags" Target="../tags/tag197.xml"/><Relationship Id="rId21" Type="http://schemas.openxmlformats.org/officeDocument/2006/relationships/tags" Target="../tags/tag198.xml"/><Relationship Id="rId22" Type="http://schemas.openxmlformats.org/officeDocument/2006/relationships/tags" Target="../tags/tag199.xml"/><Relationship Id="rId23" Type="http://schemas.openxmlformats.org/officeDocument/2006/relationships/tags" Target="../tags/tag200.xml"/><Relationship Id="rId24" Type="http://schemas.openxmlformats.org/officeDocument/2006/relationships/tags" Target="../tags/tag201.xml"/><Relationship Id="rId25" Type="http://schemas.openxmlformats.org/officeDocument/2006/relationships/slideLayout" Target="../slideLayouts/slideLayout2.xml"/><Relationship Id="rId26" Type="http://schemas.openxmlformats.org/officeDocument/2006/relationships/oleObject" Target="../embeddings/oleObject21.bin"/><Relationship Id="rId27" Type="http://schemas.openxmlformats.org/officeDocument/2006/relationships/image" Target="../media/image1.emf"/><Relationship Id="rId10" Type="http://schemas.openxmlformats.org/officeDocument/2006/relationships/tags" Target="../tags/tag187.xml"/><Relationship Id="rId11" Type="http://schemas.openxmlformats.org/officeDocument/2006/relationships/tags" Target="../tags/tag188.xml"/><Relationship Id="rId12" Type="http://schemas.openxmlformats.org/officeDocument/2006/relationships/tags" Target="../tags/tag189.xml"/><Relationship Id="rId13" Type="http://schemas.openxmlformats.org/officeDocument/2006/relationships/tags" Target="../tags/tag190.xml"/><Relationship Id="rId14" Type="http://schemas.openxmlformats.org/officeDocument/2006/relationships/tags" Target="../tags/tag191.xml"/><Relationship Id="rId15" Type="http://schemas.openxmlformats.org/officeDocument/2006/relationships/tags" Target="../tags/tag192.xml"/><Relationship Id="rId16" Type="http://schemas.openxmlformats.org/officeDocument/2006/relationships/tags" Target="../tags/tag193.xml"/><Relationship Id="rId17" Type="http://schemas.openxmlformats.org/officeDocument/2006/relationships/tags" Target="../tags/tag194.xml"/><Relationship Id="rId18" Type="http://schemas.openxmlformats.org/officeDocument/2006/relationships/tags" Target="../tags/tag195.xml"/><Relationship Id="rId19" Type="http://schemas.openxmlformats.org/officeDocument/2006/relationships/tags" Target="../tags/tag196.xml"/><Relationship Id="rId1" Type="http://schemas.openxmlformats.org/officeDocument/2006/relationships/vmlDrawing" Target="../drawings/vmlDrawing21.vml"/><Relationship Id="rId2" Type="http://schemas.openxmlformats.org/officeDocument/2006/relationships/tags" Target="../tags/tag179.xml"/><Relationship Id="rId3" Type="http://schemas.openxmlformats.org/officeDocument/2006/relationships/tags" Target="../tags/tag180.xml"/><Relationship Id="rId4" Type="http://schemas.openxmlformats.org/officeDocument/2006/relationships/tags" Target="../tags/tag181.xml"/><Relationship Id="rId5" Type="http://schemas.openxmlformats.org/officeDocument/2006/relationships/tags" Target="../tags/tag182.xml"/><Relationship Id="rId6" Type="http://schemas.openxmlformats.org/officeDocument/2006/relationships/tags" Target="../tags/tag183.xml"/><Relationship Id="rId7" Type="http://schemas.openxmlformats.org/officeDocument/2006/relationships/tags" Target="../tags/tag184.xml"/><Relationship Id="rId8" Type="http://schemas.openxmlformats.org/officeDocument/2006/relationships/tags" Target="../tags/tag185.xml"/></Relationships>
</file>

<file path=ppt/slides/_rels/slide2.xml.rels><?xml version="1.0" encoding="UTF-8" standalone="yes"?>
<Relationships xmlns="http://schemas.openxmlformats.org/package/2006/relationships"><Relationship Id="rId13" Type="http://schemas.openxmlformats.org/officeDocument/2006/relationships/tags" Target="../tags/tag20.xml"/><Relationship Id="rId14" Type="http://schemas.openxmlformats.org/officeDocument/2006/relationships/tags" Target="../tags/tag21.xml"/><Relationship Id="rId15" Type="http://schemas.openxmlformats.org/officeDocument/2006/relationships/tags" Target="../tags/tag22.xml"/><Relationship Id="rId16" Type="http://schemas.openxmlformats.org/officeDocument/2006/relationships/tags" Target="../tags/tag23.xml"/><Relationship Id="rId17" Type="http://schemas.openxmlformats.org/officeDocument/2006/relationships/tags" Target="../tags/tag24.xml"/><Relationship Id="rId18" Type="http://schemas.openxmlformats.org/officeDocument/2006/relationships/tags" Target="../tags/tag25.xml"/><Relationship Id="rId19" Type="http://schemas.openxmlformats.org/officeDocument/2006/relationships/tags" Target="../tags/tag26.xml"/><Relationship Id="rId50" Type="http://schemas.openxmlformats.org/officeDocument/2006/relationships/tags" Target="../tags/tag57.xml"/><Relationship Id="rId51" Type="http://schemas.openxmlformats.org/officeDocument/2006/relationships/tags" Target="../tags/tag58.xml"/><Relationship Id="rId52" Type="http://schemas.openxmlformats.org/officeDocument/2006/relationships/slideLayout" Target="../slideLayouts/slideLayout2.xml"/><Relationship Id="rId53" Type="http://schemas.openxmlformats.org/officeDocument/2006/relationships/oleObject" Target="../embeddings/oleObject4.bin"/><Relationship Id="rId54" Type="http://schemas.openxmlformats.org/officeDocument/2006/relationships/image" Target="../media/image1.emf"/><Relationship Id="rId40" Type="http://schemas.openxmlformats.org/officeDocument/2006/relationships/tags" Target="../tags/tag47.xml"/><Relationship Id="rId41" Type="http://schemas.openxmlformats.org/officeDocument/2006/relationships/tags" Target="../tags/tag48.xml"/><Relationship Id="rId42" Type="http://schemas.openxmlformats.org/officeDocument/2006/relationships/tags" Target="../tags/tag49.xml"/><Relationship Id="rId43" Type="http://schemas.openxmlformats.org/officeDocument/2006/relationships/tags" Target="../tags/tag50.xml"/><Relationship Id="rId44" Type="http://schemas.openxmlformats.org/officeDocument/2006/relationships/tags" Target="../tags/tag51.xml"/><Relationship Id="rId45" Type="http://schemas.openxmlformats.org/officeDocument/2006/relationships/tags" Target="../tags/tag52.xml"/><Relationship Id="rId46" Type="http://schemas.openxmlformats.org/officeDocument/2006/relationships/tags" Target="../tags/tag53.xml"/><Relationship Id="rId47" Type="http://schemas.openxmlformats.org/officeDocument/2006/relationships/tags" Target="../tags/tag54.xml"/><Relationship Id="rId48" Type="http://schemas.openxmlformats.org/officeDocument/2006/relationships/tags" Target="../tags/tag55.xml"/><Relationship Id="rId49" Type="http://schemas.openxmlformats.org/officeDocument/2006/relationships/tags" Target="../tags/tag56.xml"/><Relationship Id="rId1" Type="http://schemas.openxmlformats.org/officeDocument/2006/relationships/vmlDrawing" Target="../drawings/vmlDrawing4.vml"/><Relationship Id="rId2" Type="http://schemas.openxmlformats.org/officeDocument/2006/relationships/tags" Target="../tags/tag9.xml"/><Relationship Id="rId3" Type="http://schemas.openxmlformats.org/officeDocument/2006/relationships/tags" Target="../tags/tag10.xml"/><Relationship Id="rId4" Type="http://schemas.openxmlformats.org/officeDocument/2006/relationships/tags" Target="../tags/tag11.xml"/><Relationship Id="rId5" Type="http://schemas.openxmlformats.org/officeDocument/2006/relationships/tags" Target="../tags/tag12.xml"/><Relationship Id="rId6" Type="http://schemas.openxmlformats.org/officeDocument/2006/relationships/tags" Target="../tags/tag13.xml"/><Relationship Id="rId7" Type="http://schemas.openxmlformats.org/officeDocument/2006/relationships/tags" Target="../tags/tag14.xml"/><Relationship Id="rId8" Type="http://schemas.openxmlformats.org/officeDocument/2006/relationships/tags" Target="../tags/tag15.xml"/><Relationship Id="rId9" Type="http://schemas.openxmlformats.org/officeDocument/2006/relationships/tags" Target="../tags/tag16.xml"/><Relationship Id="rId30" Type="http://schemas.openxmlformats.org/officeDocument/2006/relationships/tags" Target="../tags/tag37.xml"/><Relationship Id="rId31" Type="http://schemas.openxmlformats.org/officeDocument/2006/relationships/tags" Target="../tags/tag38.xml"/><Relationship Id="rId32" Type="http://schemas.openxmlformats.org/officeDocument/2006/relationships/tags" Target="../tags/tag39.xml"/><Relationship Id="rId33" Type="http://schemas.openxmlformats.org/officeDocument/2006/relationships/tags" Target="../tags/tag40.xml"/><Relationship Id="rId34" Type="http://schemas.openxmlformats.org/officeDocument/2006/relationships/tags" Target="../tags/tag41.xml"/><Relationship Id="rId35" Type="http://schemas.openxmlformats.org/officeDocument/2006/relationships/tags" Target="../tags/tag42.xml"/><Relationship Id="rId36" Type="http://schemas.openxmlformats.org/officeDocument/2006/relationships/tags" Target="../tags/tag43.xml"/><Relationship Id="rId37" Type="http://schemas.openxmlformats.org/officeDocument/2006/relationships/tags" Target="../tags/tag44.xml"/><Relationship Id="rId38" Type="http://schemas.openxmlformats.org/officeDocument/2006/relationships/tags" Target="../tags/tag45.xml"/><Relationship Id="rId39" Type="http://schemas.openxmlformats.org/officeDocument/2006/relationships/tags" Target="../tags/tag46.xml"/><Relationship Id="rId20" Type="http://schemas.openxmlformats.org/officeDocument/2006/relationships/tags" Target="../tags/tag27.xml"/><Relationship Id="rId21" Type="http://schemas.openxmlformats.org/officeDocument/2006/relationships/tags" Target="../tags/tag28.xml"/><Relationship Id="rId22" Type="http://schemas.openxmlformats.org/officeDocument/2006/relationships/tags" Target="../tags/tag29.xml"/><Relationship Id="rId23" Type="http://schemas.openxmlformats.org/officeDocument/2006/relationships/tags" Target="../tags/tag30.xml"/><Relationship Id="rId24" Type="http://schemas.openxmlformats.org/officeDocument/2006/relationships/tags" Target="../tags/tag31.xml"/><Relationship Id="rId25" Type="http://schemas.openxmlformats.org/officeDocument/2006/relationships/tags" Target="../tags/tag32.xml"/><Relationship Id="rId26" Type="http://schemas.openxmlformats.org/officeDocument/2006/relationships/tags" Target="../tags/tag33.xml"/><Relationship Id="rId27" Type="http://schemas.openxmlformats.org/officeDocument/2006/relationships/tags" Target="../tags/tag34.xml"/><Relationship Id="rId28" Type="http://schemas.openxmlformats.org/officeDocument/2006/relationships/tags" Target="../tags/tag35.xml"/><Relationship Id="rId29" Type="http://schemas.openxmlformats.org/officeDocument/2006/relationships/tags" Target="../tags/tag36.xml"/><Relationship Id="rId10" Type="http://schemas.openxmlformats.org/officeDocument/2006/relationships/tags" Target="../tags/tag17.xml"/><Relationship Id="rId11" Type="http://schemas.openxmlformats.org/officeDocument/2006/relationships/tags" Target="../tags/tag18.xml"/><Relationship Id="rId12" Type="http://schemas.openxmlformats.org/officeDocument/2006/relationships/tags" Target="../tags/tag19.xml"/></Relationships>
</file>

<file path=ppt/slides/_rels/slide20.xml.rels><?xml version="1.0" encoding="UTF-8" standalone="yes"?>
<Relationships xmlns="http://schemas.openxmlformats.org/package/2006/relationships"><Relationship Id="rId3" Type="http://schemas.openxmlformats.org/officeDocument/2006/relationships/tags" Target="../tags/tag203.xml"/><Relationship Id="rId4" Type="http://schemas.openxmlformats.org/officeDocument/2006/relationships/tags" Target="../tags/tag204.xml"/><Relationship Id="rId5" Type="http://schemas.openxmlformats.org/officeDocument/2006/relationships/tags" Target="../tags/tag205.xml"/><Relationship Id="rId6" Type="http://schemas.openxmlformats.org/officeDocument/2006/relationships/tags" Target="../tags/tag206.xml"/><Relationship Id="rId7" Type="http://schemas.openxmlformats.org/officeDocument/2006/relationships/slideLayout" Target="../slideLayouts/slideLayout2.xml"/><Relationship Id="rId8" Type="http://schemas.openxmlformats.org/officeDocument/2006/relationships/oleObject" Target="../embeddings/oleObject22.bin"/><Relationship Id="rId9" Type="http://schemas.openxmlformats.org/officeDocument/2006/relationships/image" Target="../media/image1.emf"/><Relationship Id="rId1" Type="http://schemas.openxmlformats.org/officeDocument/2006/relationships/vmlDrawing" Target="../drawings/vmlDrawing22.vml"/><Relationship Id="rId2" Type="http://schemas.openxmlformats.org/officeDocument/2006/relationships/tags" Target="../tags/tag202.xml"/></Relationships>
</file>

<file path=ppt/slides/_rels/slide21.xml.rels><?xml version="1.0" encoding="UTF-8" standalone="yes"?>
<Relationships xmlns="http://schemas.openxmlformats.org/package/2006/relationships"><Relationship Id="rId9" Type="http://schemas.openxmlformats.org/officeDocument/2006/relationships/tags" Target="../tags/tag214.xml"/><Relationship Id="rId20" Type="http://schemas.openxmlformats.org/officeDocument/2006/relationships/tags" Target="../tags/tag225.xml"/><Relationship Id="rId21" Type="http://schemas.openxmlformats.org/officeDocument/2006/relationships/tags" Target="../tags/tag226.xml"/><Relationship Id="rId22" Type="http://schemas.openxmlformats.org/officeDocument/2006/relationships/tags" Target="../tags/tag227.xml"/><Relationship Id="rId23" Type="http://schemas.openxmlformats.org/officeDocument/2006/relationships/tags" Target="../tags/tag228.xml"/><Relationship Id="rId24" Type="http://schemas.openxmlformats.org/officeDocument/2006/relationships/tags" Target="../tags/tag229.xml"/><Relationship Id="rId25" Type="http://schemas.openxmlformats.org/officeDocument/2006/relationships/tags" Target="../tags/tag230.xml"/><Relationship Id="rId26" Type="http://schemas.openxmlformats.org/officeDocument/2006/relationships/slideLayout" Target="../slideLayouts/slideLayout2.xml"/><Relationship Id="rId27" Type="http://schemas.openxmlformats.org/officeDocument/2006/relationships/oleObject" Target="../embeddings/oleObject23.bin"/><Relationship Id="rId28" Type="http://schemas.openxmlformats.org/officeDocument/2006/relationships/image" Target="../media/image1.emf"/><Relationship Id="rId10" Type="http://schemas.openxmlformats.org/officeDocument/2006/relationships/tags" Target="../tags/tag215.xml"/><Relationship Id="rId11" Type="http://schemas.openxmlformats.org/officeDocument/2006/relationships/tags" Target="../tags/tag216.xml"/><Relationship Id="rId12" Type="http://schemas.openxmlformats.org/officeDocument/2006/relationships/tags" Target="../tags/tag217.xml"/><Relationship Id="rId13" Type="http://schemas.openxmlformats.org/officeDocument/2006/relationships/tags" Target="../tags/tag218.xml"/><Relationship Id="rId14" Type="http://schemas.openxmlformats.org/officeDocument/2006/relationships/tags" Target="../tags/tag219.xml"/><Relationship Id="rId15" Type="http://schemas.openxmlformats.org/officeDocument/2006/relationships/tags" Target="../tags/tag220.xml"/><Relationship Id="rId16" Type="http://schemas.openxmlformats.org/officeDocument/2006/relationships/tags" Target="../tags/tag221.xml"/><Relationship Id="rId17" Type="http://schemas.openxmlformats.org/officeDocument/2006/relationships/tags" Target="../tags/tag222.xml"/><Relationship Id="rId18" Type="http://schemas.openxmlformats.org/officeDocument/2006/relationships/tags" Target="../tags/tag223.xml"/><Relationship Id="rId19" Type="http://schemas.openxmlformats.org/officeDocument/2006/relationships/tags" Target="../tags/tag224.xml"/><Relationship Id="rId1" Type="http://schemas.openxmlformats.org/officeDocument/2006/relationships/vmlDrawing" Target="../drawings/vmlDrawing23.vml"/><Relationship Id="rId2" Type="http://schemas.openxmlformats.org/officeDocument/2006/relationships/tags" Target="../tags/tag207.xml"/><Relationship Id="rId3" Type="http://schemas.openxmlformats.org/officeDocument/2006/relationships/tags" Target="../tags/tag208.xml"/><Relationship Id="rId4" Type="http://schemas.openxmlformats.org/officeDocument/2006/relationships/tags" Target="../tags/tag209.xml"/><Relationship Id="rId5" Type="http://schemas.openxmlformats.org/officeDocument/2006/relationships/tags" Target="../tags/tag210.xml"/><Relationship Id="rId6" Type="http://schemas.openxmlformats.org/officeDocument/2006/relationships/tags" Target="../tags/tag211.xml"/><Relationship Id="rId7" Type="http://schemas.openxmlformats.org/officeDocument/2006/relationships/tags" Target="../tags/tag212.xml"/><Relationship Id="rId8" Type="http://schemas.openxmlformats.org/officeDocument/2006/relationships/tags" Target="../tags/tag213.xml"/></Relationships>
</file>

<file path=ppt/slides/_rels/slide22.xml.rels><?xml version="1.0" encoding="UTF-8" standalone="yes"?>
<Relationships xmlns="http://schemas.openxmlformats.org/package/2006/relationships"><Relationship Id="rId3" Type="http://schemas.openxmlformats.org/officeDocument/2006/relationships/tags" Target="../tags/tag232.xml"/><Relationship Id="rId4" Type="http://schemas.openxmlformats.org/officeDocument/2006/relationships/tags" Target="../tags/tag233.xml"/><Relationship Id="rId5" Type="http://schemas.openxmlformats.org/officeDocument/2006/relationships/tags" Target="../tags/tag234.xml"/><Relationship Id="rId6" Type="http://schemas.openxmlformats.org/officeDocument/2006/relationships/tags" Target="../tags/tag235.xml"/><Relationship Id="rId7" Type="http://schemas.openxmlformats.org/officeDocument/2006/relationships/slideLayout" Target="../slideLayouts/slideLayout2.xml"/><Relationship Id="rId8" Type="http://schemas.openxmlformats.org/officeDocument/2006/relationships/oleObject" Target="../embeddings/oleObject24.bin"/><Relationship Id="rId9" Type="http://schemas.openxmlformats.org/officeDocument/2006/relationships/image" Target="../media/image1.emf"/><Relationship Id="rId1" Type="http://schemas.openxmlformats.org/officeDocument/2006/relationships/vmlDrawing" Target="../drawings/vmlDrawing24.vml"/><Relationship Id="rId2" Type="http://schemas.openxmlformats.org/officeDocument/2006/relationships/tags" Target="../tags/tag231.xml"/></Relationships>
</file>

<file path=ppt/slides/_rels/slide23.xml.rels><?xml version="1.0" encoding="UTF-8" standalone="yes"?>
<Relationships xmlns="http://schemas.openxmlformats.org/package/2006/relationships"><Relationship Id="rId3" Type="http://schemas.openxmlformats.org/officeDocument/2006/relationships/tags" Target="../tags/tag237.xml"/><Relationship Id="rId4" Type="http://schemas.openxmlformats.org/officeDocument/2006/relationships/tags" Target="../tags/tag238.xml"/><Relationship Id="rId5" Type="http://schemas.openxmlformats.org/officeDocument/2006/relationships/tags" Target="../tags/tag239.xml"/><Relationship Id="rId6" Type="http://schemas.openxmlformats.org/officeDocument/2006/relationships/tags" Target="../tags/tag240.xml"/><Relationship Id="rId7" Type="http://schemas.openxmlformats.org/officeDocument/2006/relationships/slideLayout" Target="../slideLayouts/slideLayout2.xml"/><Relationship Id="rId8" Type="http://schemas.openxmlformats.org/officeDocument/2006/relationships/oleObject" Target="../embeddings/oleObject25.bin"/><Relationship Id="rId9" Type="http://schemas.openxmlformats.org/officeDocument/2006/relationships/image" Target="../media/image1.emf"/><Relationship Id="rId1" Type="http://schemas.openxmlformats.org/officeDocument/2006/relationships/vmlDrawing" Target="../drawings/vmlDrawing25.vml"/><Relationship Id="rId2" Type="http://schemas.openxmlformats.org/officeDocument/2006/relationships/tags" Target="../tags/tag236.xml"/></Relationships>
</file>

<file path=ppt/slides/_rels/slide24.xml.rels><?xml version="1.0" encoding="UTF-8" standalone="yes"?>
<Relationships xmlns="http://schemas.openxmlformats.org/package/2006/relationships"><Relationship Id="rId3" Type="http://schemas.openxmlformats.org/officeDocument/2006/relationships/tags" Target="../tags/tag242.xml"/><Relationship Id="rId4" Type="http://schemas.openxmlformats.org/officeDocument/2006/relationships/tags" Target="../tags/tag243.xml"/><Relationship Id="rId5" Type="http://schemas.openxmlformats.org/officeDocument/2006/relationships/tags" Target="../tags/tag244.xml"/><Relationship Id="rId6" Type="http://schemas.openxmlformats.org/officeDocument/2006/relationships/tags" Target="../tags/tag245.xml"/><Relationship Id="rId7" Type="http://schemas.openxmlformats.org/officeDocument/2006/relationships/slideLayout" Target="../slideLayouts/slideLayout2.xml"/><Relationship Id="rId8" Type="http://schemas.openxmlformats.org/officeDocument/2006/relationships/oleObject" Target="../embeddings/oleObject26.bin"/><Relationship Id="rId9" Type="http://schemas.openxmlformats.org/officeDocument/2006/relationships/image" Target="../media/image1.emf"/><Relationship Id="rId1" Type="http://schemas.openxmlformats.org/officeDocument/2006/relationships/vmlDrawing" Target="../drawings/vmlDrawing26.vml"/><Relationship Id="rId2" Type="http://schemas.openxmlformats.org/officeDocument/2006/relationships/tags" Target="../tags/tag241.xml"/></Relationships>
</file>

<file path=ppt/slides/_rels/slide25.xml.rels><?xml version="1.0" encoding="UTF-8" standalone="yes"?>
<Relationships xmlns="http://schemas.openxmlformats.org/package/2006/relationships"><Relationship Id="rId3" Type="http://schemas.openxmlformats.org/officeDocument/2006/relationships/tags" Target="../tags/tag247.xml"/><Relationship Id="rId4" Type="http://schemas.openxmlformats.org/officeDocument/2006/relationships/tags" Target="../tags/tag248.xml"/><Relationship Id="rId5" Type="http://schemas.openxmlformats.org/officeDocument/2006/relationships/tags" Target="../tags/tag249.xml"/><Relationship Id="rId6" Type="http://schemas.openxmlformats.org/officeDocument/2006/relationships/tags" Target="../tags/tag250.xml"/><Relationship Id="rId7" Type="http://schemas.openxmlformats.org/officeDocument/2006/relationships/slideLayout" Target="../slideLayouts/slideLayout2.xml"/><Relationship Id="rId8" Type="http://schemas.openxmlformats.org/officeDocument/2006/relationships/oleObject" Target="../embeddings/oleObject27.bin"/><Relationship Id="rId9" Type="http://schemas.openxmlformats.org/officeDocument/2006/relationships/image" Target="../media/image1.emf"/><Relationship Id="rId1" Type="http://schemas.openxmlformats.org/officeDocument/2006/relationships/vmlDrawing" Target="../drawings/vmlDrawing27.vml"/><Relationship Id="rId2" Type="http://schemas.openxmlformats.org/officeDocument/2006/relationships/tags" Target="../tags/tag246.xml"/></Relationships>
</file>

<file path=ppt/slides/_rels/slide26.xml.rels><?xml version="1.0" encoding="UTF-8" standalone="yes"?>
<Relationships xmlns="http://schemas.openxmlformats.org/package/2006/relationships"><Relationship Id="rId11" Type="http://schemas.openxmlformats.org/officeDocument/2006/relationships/tags" Target="../tags/tag260.xml"/><Relationship Id="rId12" Type="http://schemas.openxmlformats.org/officeDocument/2006/relationships/slideLayout" Target="../slideLayouts/slideLayout2.xml"/><Relationship Id="rId13" Type="http://schemas.openxmlformats.org/officeDocument/2006/relationships/oleObject" Target="../embeddings/oleObject28.bin"/><Relationship Id="rId14" Type="http://schemas.openxmlformats.org/officeDocument/2006/relationships/image" Target="../media/image1.emf"/><Relationship Id="rId1" Type="http://schemas.openxmlformats.org/officeDocument/2006/relationships/vmlDrawing" Target="../drawings/vmlDrawing28.vml"/><Relationship Id="rId2" Type="http://schemas.openxmlformats.org/officeDocument/2006/relationships/tags" Target="../tags/tag251.xml"/><Relationship Id="rId3" Type="http://schemas.openxmlformats.org/officeDocument/2006/relationships/tags" Target="../tags/tag252.xml"/><Relationship Id="rId4" Type="http://schemas.openxmlformats.org/officeDocument/2006/relationships/tags" Target="../tags/tag253.xml"/><Relationship Id="rId5" Type="http://schemas.openxmlformats.org/officeDocument/2006/relationships/tags" Target="../tags/tag254.xml"/><Relationship Id="rId6" Type="http://schemas.openxmlformats.org/officeDocument/2006/relationships/tags" Target="../tags/tag255.xml"/><Relationship Id="rId7" Type="http://schemas.openxmlformats.org/officeDocument/2006/relationships/tags" Target="../tags/tag256.xml"/><Relationship Id="rId8" Type="http://schemas.openxmlformats.org/officeDocument/2006/relationships/tags" Target="../tags/tag257.xml"/><Relationship Id="rId9" Type="http://schemas.openxmlformats.org/officeDocument/2006/relationships/tags" Target="../tags/tag258.xml"/><Relationship Id="rId10" Type="http://schemas.openxmlformats.org/officeDocument/2006/relationships/tags" Target="../tags/tag259.xml"/></Relationships>
</file>

<file path=ppt/slides/_rels/slide27.xml.rels><?xml version="1.0" encoding="UTF-8" standalone="yes"?>
<Relationships xmlns="http://schemas.openxmlformats.org/package/2006/relationships"><Relationship Id="rId3" Type="http://schemas.openxmlformats.org/officeDocument/2006/relationships/tags" Target="../tags/tag262.xml"/><Relationship Id="rId4" Type="http://schemas.openxmlformats.org/officeDocument/2006/relationships/tags" Target="../tags/tag263.xml"/><Relationship Id="rId5" Type="http://schemas.openxmlformats.org/officeDocument/2006/relationships/tags" Target="../tags/tag264.xml"/><Relationship Id="rId6" Type="http://schemas.openxmlformats.org/officeDocument/2006/relationships/tags" Target="../tags/tag265.xml"/><Relationship Id="rId7" Type="http://schemas.openxmlformats.org/officeDocument/2006/relationships/slideLayout" Target="../slideLayouts/slideLayout2.xml"/><Relationship Id="rId8" Type="http://schemas.openxmlformats.org/officeDocument/2006/relationships/oleObject" Target="../embeddings/oleObject29.bin"/><Relationship Id="rId9" Type="http://schemas.openxmlformats.org/officeDocument/2006/relationships/image" Target="../media/image1.emf"/><Relationship Id="rId1" Type="http://schemas.openxmlformats.org/officeDocument/2006/relationships/vmlDrawing" Target="../drawings/vmlDrawing29.vml"/><Relationship Id="rId2" Type="http://schemas.openxmlformats.org/officeDocument/2006/relationships/tags" Target="../tags/tag261.xml"/></Relationships>
</file>

<file path=ppt/slides/_rels/slide3.xml.rels><?xml version="1.0" encoding="UTF-8" standalone="yes"?>
<Relationships xmlns="http://schemas.openxmlformats.org/package/2006/relationships"><Relationship Id="rId3" Type="http://schemas.openxmlformats.org/officeDocument/2006/relationships/tags" Target="../tags/tag60.xml"/><Relationship Id="rId4" Type="http://schemas.openxmlformats.org/officeDocument/2006/relationships/tags" Target="../tags/tag61.xml"/><Relationship Id="rId5" Type="http://schemas.openxmlformats.org/officeDocument/2006/relationships/tags" Target="../tags/tag62.xml"/><Relationship Id="rId6" Type="http://schemas.openxmlformats.org/officeDocument/2006/relationships/tags" Target="../tags/tag63.xml"/><Relationship Id="rId7" Type="http://schemas.openxmlformats.org/officeDocument/2006/relationships/slideLayout" Target="../slideLayouts/slideLayout2.xml"/><Relationship Id="rId8" Type="http://schemas.openxmlformats.org/officeDocument/2006/relationships/oleObject" Target="../embeddings/oleObject5.bin"/><Relationship Id="rId9" Type="http://schemas.openxmlformats.org/officeDocument/2006/relationships/image" Target="../media/image1.emf"/><Relationship Id="rId1" Type="http://schemas.openxmlformats.org/officeDocument/2006/relationships/vmlDrawing" Target="../drawings/vmlDrawing5.vml"/><Relationship Id="rId2" Type="http://schemas.openxmlformats.org/officeDocument/2006/relationships/tags" Target="../tags/tag59.xml"/></Relationships>
</file>

<file path=ppt/slides/_rels/slide4.xml.rels><?xml version="1.0" encoding="UTF-8" standalone="yes"?>
<Relationships xmlns="http://schemas.openxmlformats.org/package/2006/relationships"><Relationship Id="rId11" Type="http://schemas.openxmlformats.org/officeDocument/2006/relationships/tags" Target="../tags/tag73.xml"/><Relationship Id="rId12" Type="http://schemas.openxmlformats.org/officeDocument/2006/relationships/tags" Target="../tags/tag74.xml"/><Relationship Id="rId13" Type="http://schemas.openxmlformats.org/officeDocument/2006/relationships/tags" Target="../tags/tag75.xml"/><Relationship Id="rId14" Type="http://schemas.openxmlformats.org/officeDocument/2006/relationships/tags" Target="../tags/tag76.xml"/><Relationship Id="rId15" Type="http://schemas.openxmlformats.org/officeDocument/2006/relationships/slideLayout" Target="../slideLayouts/slideLayout2.xml"/><Relationship Id="rId16" Type="http://schemas.openxmlformats.org/officeDocument/2006/relationships/oleObject" Target="../embeddings/oleObject6.bin"/><Relationship Id="rId17" Type="http://schemas.openxmlformats.org/officeDocument/2006/relationships/image" Target="../media/image1.emf"/><Relationship Id="rId1" Type="http://schemas.openxmlformats.org/officeDocument/2006/relationships/vmlDrawing" Target="../drawings/vmlDrawing6.vml"/><Relationship Id="rId2" Type="http://schemas.openxmlformats.org/officeDocument/2006/relationships/tags" Target="../tags/tag64.xml"/><Relationship Id="rId3" Type="http://schemas.openxmlformats.org/officeDocument/2006/relationships/tags" Target="../tags/tag65.xml"/><Relationship Id="rId4" Type="http://schemas.openxmlformats.org/officeDocument/2006/relationships/tags" Target="../tags/tag66.xml"/><Relationship Id="rId5" Type="http://schemas.openxmlformats.org/officeDocument/2006/relationships/tags" Target="../tags/tag67.xml"/><Relationship Id="rId6" Type="http://schemas.openxmlformats.org/officeDocument/2006/relationships/tags" Target="../tags/tag68.xml"/><Relationship Id="rId7" Type="http://schemas.openxmlformats.org/officeDocument/2006/relationships/tags" Target="../tags/tag69.xml"/><Relationship Id="rId8" Type="http://schemas.openxmlformats.org/officeDocument/2006/relationships/tags" Target="../tags/tag70.xml"/><Relationship Id="rId9" Type="http://schemas.openxmlformats.org/officeDocument/2006/relationships/tags" Target="../tags/tag71.xml"/><Relationship Id="rId10" Type="http://schemas.openxmlformats.org/officeDocument/2006/relationships/tags" Target="../tags/tag72.xml"/></Relationships>
</file>

<file path=ppt/slides/_rels/slide5.xml.rels><?xml version="1.0" encoding="UTF-8" standalone="yes"?>
<Relationships xmlns="http://schemas.openxmlformats.org/package/2006/relationships"><Relationship Id="rId3" Type="http://schemas.openxmlformats.org/officeDocument/2006/relationships/tags" Target="../tags/tag78.xml"/><Relationship Id="rId4" Type="http://schemas.openxmlformats.org/officeDocument/2006/relationships/tags" Target="../tags/tag79.xml"/><Relationship Id="rId5" Type="http://schemas.openxmlformats.org/officeDocument/2006/relationships/tags" Target="../tags/tag80.xml"/><Relationship Id="rId6" Type="http://schemas.openxmlformats.org/officeDocument/2006/relationships/tags" Target="../tags/tag81.xml"/><Relationship Id="rId7" Type="http://schemas.openxmlformats.org/officeDocument/2006/relationships/slideLayout" Target="../slideLayouts/slideLayout2.xml"/><Relationship Id="rId8" Type="http://schemas.openxmlformats.org/officeDocument/2006/relationships/oleObject" Target="../embeddings/oleObject7.bin"/><Relationship Id="rId9" Type="http://schemas.openxmlformats.org/officeDocument/2006/relationships/image" Target="../media/image1.emf"/><Relationship Id="rId1" Type="http://schemas.openxmlformats.org/officeDocument/2006/relationships/vmlDrawing" Target="../drawings/vmlDrawing7.vml"/><Relationship Id="rId2" Type="http://schemas.openxmlformats.org/officeDocument/2006/relationships/tags" Target="../tags/tag77.xml"/></Relationships>
</file>

<file path=ppt/slides/_rels/slide6.xml.rels><?xml version="1.0" encoding="UTF-8" standalone="yes"?>
<Relationships xmlns="http://schemas.openxmlformats.org/package/2006/relationships"><Relationship Id="rId3" Type="http://schemas.openxmlformats.org/officeDocument/2006/relationships/tags" Target="../tags/tag83.xml"/><Relationship Id="rId4" Type="http://schemas.openxmlformats.org/officeDocument/2006/relationships/tags" Target="../tags/tag84.xml"/><Relationship Id="rId5" Type="http://schemas.openxmlformats.org/officeDocument/2006/relationships/tags" Target="../tags/tag85.xml"/><Relationship Id="rId6" Type="http://schemas.openxmlformats.org/officeDocument/2006/relationships/tags" Target="../tags/tag86.xml"/><Relationship Id="rId7" Type="http://schemas.openxmlformats.org/officeDocument/2006/relationships/slideLayout" Target="../slideLayouts/slideLayout2.xml"/><Relationship Id="rId8" Type="http://schemas.openxmlformats.org/officeDocument/2006/relationships/oleObject" Target="../embeddings/oleObject8.bin"/><Relationship Id="rId9" Type="http://schemas.openxmlformats.org/officeDocument/2006/relationships/image" Target="../media/image1.emf"/><Relationship Id="rId1" Type="http://schemas.openxmlformats.org/officeDocument/2006/relationships/vmlDrawing" Target="../drawings/vmlDrawing8.vml"/><Relationship Id="rId2" Type="http://schemas.openxmlformats.org/officeDocument/2006/relationships/tags" Target="../tags/tag82.xml"/></Relationships>
</file>

<file path=ppt/slides/_rels/slide7.xml.rels><?xml version="1.0" encoding="UTF-8" standalone="yes"?>
<Relationships xmlns="http://schemas.openxmlformats.org/package/2006/relationships"><Relationship Id="rId3" Type="http://schemas.openxmlformats.org/officeDocument/2006/relationships/tags" Target="../tags/tag88.xml"/><Relationship Id="rId4" Type="http://schemas.openxmlformats.org/officeDocument/2006/relationships/tags" Target="../tags/tag89.xml"/><Relationship Id="rId5" Type="http://schemas.openxmlformats.org/officeDocument/2006/relationships/tags" Target="../tags/tag90.xml"/><Relationship Id="rId6" Type="http://schemas.openxmlformats.org/officeDocument/2006/relationships/tags" Target="../tags/tag91.xml"/><Relationship Id="rId7" Type="http://schemas.openxmlformats.org/officeDocument/2006/relationships/slideLayout" Target="../slideLayouts/slideLayout2.xml"/><Relationship Id="rId8" Type="http://schemas.openxmlformats.org/officeDocument/2006/relationships/oleObject" Target="../embeddings/oleObject9.bin"/><Relationship Id="rId9" Type="http://schemas.openxmlformats.org/officeDocument/2006/relationships/image" Target="../media/image1.emf"/><Relationship Id="rId1" Type="http://schemas.openxmlformats.org/officeDocument/2006/relationships/vmlDrawing" Target="../drawings/vmlDrawing9.vml"/><Relationship Id="rId2" Type="http://schemas.openxmlformats.org/officeDocument/2006/relationships/tags" Target="../tags/tag87.xml"/></Relationships>
</file>

<file path=ppt/slides/_rels/slide8.xml.rels><?xml version="1.0" encoding="UTF-8" standalone="yes"?>
<Relationships xmlns="http://schemas.openxmlformats.org/package/2006/relationships"><Relationship Id="rId3" Type="http://schemas.openxmlformats.org/officeDocument/2006/relationships/tags" Target="../tags/tag93.xml"/><Relationship Id="rId4" Type="http://schemas.openxmlformats.org/officeDocument/2006/relationships/tags" Target="../tags/tag94.xml"/><Relationship Id="rId5" Type="http://schemas.openxmlformats.org/officeDocument/2006/relationships/tags" Target="../tags/tag95.xml"/><Relationship Id="rId6" Type="http://schemas.openxmlformats.org/officeDocument/2006/relationships/tags" Target="../tags/tag96.xml"/><Relationship Id="rId7" Type="http://schemas.openxmlformats.org/officeDocument/2006/relationships/slideLayout" Target="../slideLayouts/slideLayout2.xml"/><Relationship Id="rId8" Type="http://schemas.openxmlformats.org/officeDocument/2006/relationships/oleObject" Target="../embeddings/oleObject10.bin"/><Relationship Id="rId9" Type="http://schemas.openxmlformats.org/officeDocument/2006/relationships/image" Target="../media/image1.emf"/><Relationship Id="rId1" Type="http://schemas.openxmlformats.org/officeDocument/2006/relationships/vmlDrawing" Target="../drawings/vmlDrawing10.vml"/><Relationship Id="rId2" Type="http://schemas.openxmlformats.org/officeDocument/2006/relationships/tags" Target="../tags/tag92.xml"/></Relationships>
</file>

<file path=ppt/slides/_rels/slide9.xml.rels><?xml version="1.0" encoding="UTF-8" standalone="yes"?>
<Relationships xmlns="http://schemas.openxmlformats.org/package/2006/relationships"><Relationship Id="rId3" Type="http://schemas.openxmlformats.org/officeDocument/2006/relationships/tags" Target="../tags/tag98.xml"/><Relationship Id="rId4" Type="http://schemas.openxmlformats.org/officeDocument/2006/relationships/tags" Target="../tags/tag99.xml"/><Relationship Id="rId5" Type="http://schemas.openxmlformats.org/officeDocument/2006/relationships/tags" Target="../tags/tag100.xml"/><Relationship Id="rId6" Type="http://schemas.openxmlformats.org/officeDocument/2006/relationships/tags" Target="../tags/tag101.xml"/><Relationship Id="rId7" Type="http://schemas.openxmlformats.org/officeDocument/2006/relationships/slideLayout" Target="../slideLayouts/slideLayout2.xml"/><Relationship Id="rId8" Type="http://schemas.openxmlformats.org/officeDocument/2006/relationships/oleObject" Target="../embeddings/oleObject11.bin"/><Relationship Id="rId9" Type="http://schemas.openxmlformats.org/officeDocument/2006/relationships/image" Target="../media/image1.emf"/><Relationship Id="rId1" Type="http://schemas.openxmlformats.org/officeDocument/2006/relationships/vmlDrawing" Target="../drawings/vmlDrawing11.vml"/><Relationship Id="rId2" Type="http://schemas.openxmlformats.org/officeDocument/2006/relationships/tags" Target="../tags/tag9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0903" y="2071945"/>
            <a:ext cx="6076751" cy="3481605"/>
          </a:xfrm>
        </p:spPr>
        <p:txBody>
          <a:bodyPr/>
          <a:lstStyle/>
          <a:p>
            <a:pPr>
              <a:lnSpc>
                <a:spcPts val="1920"/>
              </a:lnSpc>
              <a:spcAft>
                <a:spcPts val="1200"/>
              </a:spcAft>
              <a:tabLst>
                <a:tab pos="804863" algn="l"/>
              </a:tabLst>
            </a:pPr>
            <a:r>
              <a:rPr lang="en-US" sz="1400" i="0" dirty="0" smtClean="0"/>
              <a:t>What follows is a complete diagram </a:t>
            </a:r>
            <a:r>
              <a:rPr lang="en-US" sz="1400" i="0" dirty="0"/>
              <a:t>library of over 300 tables, flows, processes and other concepts waiting for text to be added</a:t>
            </a:r>
            <a:r>
              <a:rPr lang="en-US" sz="1400" i="0" dirty="0" smtClean="0"/>
              <a:t>. </a:t>
            </a:r>
            <a:r>
              <a:rPr lang="en-US" sz="1600" b="1" i="0" dirty="0" smtClean="0"/>
              <a:t>Words imply – but pictures demonstrate</a:t>
            </a:r>
            <a:r>
              <a:rPr lang="en-US" sz="1400" b="1" i="0" dirty="0" smtClean="0"/>
              <a:t> </a:t>
            </a:r>
            <a:r>
              <a:rPr lang="en-US" sz="1400" i="0" dirty="0" smtClean="0"/>
              <a:t>- </a:t>
            </a:r>
            <a:r>
              <a:rPr lang="en-US" sz="1400" i="0" dirty="0"/>
              <a:t>use these solutions to better show relationships between elements of your page content</a:t>
            </a:r>
            <a:r>
              <a:rPr lang="en-US" sz="1400" i="0" dirty="0" smtClean="0"/>
              <a:t>. </a:t>
            </a:r>
            <a:r>
              <a:rPr lang="en-US" sz="1400" i="0" dirty="0"/>
              <a:t>Think of this as </a:t>
            </a:r>
            <a:r>
              <a:rPr lang="en-US" sz="1400" i="0" dirty="0" smtClean="0"/>
              <a:t>a collection of solutions </a:t>
            </a:r>
            <a:r>
              <a:rPr lang="en-US" sz="1400" i="0" dirty="0"/>
              <a:t>ready for problems – shapes and lines waiting for the text from bullet point PowerPoint pages to be </a:t>
            </a:r>
            <a:r>
              <a:rPr lang="en-US" sz="1400" i="0" dirty="0" smtClean="0"/>
              <a:t>added. </a:t>
            </a:r>
            <a:r>
              <a:rPr lang="en-US" sz="1400" i="0" dirty="0"/>
              <a:t/>
            </a:r>
            <a:br>
              <a:rPr lang="en-US" sz="1400" i="0" dirty="0"/>
            </a:br>
            <a:r>
              <a:rPr lang="en-US" sz="1400" i="0" dirty="0" smtClean="0"/>
              <a:t/>
            </a:r>
            <a:br>
              <a:rPr lang="en-US" sz="1400" i="0" dirty="0" smtClean="0"/>
            </a:br>
            <a:r>
              <a:rPr lang="en-US" sz="1400" i="0" dirty="0" smtClean="0"/>
              <a:t>If you would like my input on visualising a particular concept; or help with the look &amp; feel, or format, of a presentation; or any  other assistance with getting across your messages, ideas or arguments please contact me.</a:t>
            </a:r>
            <a:br>
              <a:rPr lang="en-US" sz="1400" i="0" dirty="0" smtClean="0"/>
            </a:br>
            <a:r>
              <a:rPr lang="en-US" sz="1400" i="0" dirty="0" smtClean="0"/>
              <a:t/>
            </a:r>
            <a:br>
              <a:rPr lang="en-US" sz="1400" i="0" dirty="0" smtClean="0"/>
            </a:br>
            <a:r>
              <a:rPr lang="en-US" sz="1400" i="0" dirty="0" smtClean="0"/>
              <a:t>See our website for further information or email us if you have any further questions.</a:t>
            </a:r>
            <a:br>
              <a:rPr lang="en-US" sz="1400" i="0" dirty="0" smtClean="0"/>
            </a:br>
            <a:r>
              <a:rPr lang="en-US" sz="1400" i="0" dirty="0" smtClean="0"/>
              <a:t/>
            </a:r>
            <a:br>
              <a:rPr lang="en-US" sz="1400" i="0" dirty="0" smtClean="0"/>
            </a:br>
            <a:r>
              <a:rPr lang="en-US" sz="1400" i="0" dirty="0" smtClean="0"/>
              <a:t>	</a:t>
            </a:r>
            <a:r>
              <a:rPr lang="en-US" sz="1400" b="1" i="0" dirty="0" smtClean="0"/>
              <a:t>Neil Young</a:t>
            </a:r>
            <a:br>
              <a:rPr lang="en-US" sz="1400" b="1" i="0" dirty="0" smtClean="0"/>
            </a:br>
            <a:r>
              <a:rPr lang="en-US" sz="1400" b="1" i="0" dirty="0"/>
              <a:t>	</a:t>
            </a:r>
            <a:r>
              <a:rPr lang="en-US" sz="1000" b="1" i="0" dirty="0" smtClean="0"/>
              <a:t>neil@ogcommunicationdesign.com </a:t>
            </a:r>
            <a:r>
              <a:rPr lang="en-US" sz="1000" b="1" i="0" dirty="0"/>
              <a:t>|www.ogcommunicationdesign.com</a:t>
            </a:r>
            <a:endParaRPr lang="en-AU" sz="1000" b="1" i="0" dirty="0"/>
          </a:p>
        </p:txBody>
      </p:sp>
      <p:pic>
        <p:nvPicPr>
          <p:cNvPr id="90419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28675" y="5059878"/>
            <a:ext cx="653143" cy="9418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0419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0486" y="265293"/>
            <a:ext cx="6187168" cy="15172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6896766" y="2163474"/>
            <a:ext cx="1464597" cy="3170099"/>
          </a:xfrm>
          <a:prstGeom prst="rect">
            <a:avLst/>
          </a:prstGeom>
          <a:solidFill>
            <a:schemeClr val="tx2"/>
          </a:solidFill>
        </p:spPr>
        <p:txBody>
          <a:bodyPr wrap="square" rtlCol="0">
            <a:spAutoFit/>
          </a:bodyPr>
          <a:lstStyle/>
          <a:p>
            <a:pPr>
              <a:lnSpc>
                <a:spcPts val="1600"/>
              </a:lnSpc>
            </a:pPr>
            <a:r>
              <a:rPr lang="en-US" sz="1200" dirty="0" smtClean="0">
                <a:solidFill>
                  <a:schemeClr val="bg1"/>
                </a:solidFill>
                <a:latin typeface="Garamond" pitchFamily="18" charset="0"/>
              </a:rPr>
              <a:t>Use keywords (see right) to search quickly through this library (control-F) – or use slide sorter view to see overview, or better still just flick through them all quickly (using down arrow) until a solution pops out that better shows the message or relationship of your content</a:t>
            </a:r>
            <a:r>
              <a:rPr lang="en-US" sz="1400" dirty="0" smtClean="0">
                <a:solidFill>
                  <a:schemeClr val="bg1"/>
                </a:solidFill>
                <a:latin typeface="Garamond" pitchFamily="18" charset="0"/>
              </a:rPr>
              <a:t>.</a:t>
            </a:r>
          </a:p>
        </p:txBody>
      </p:sp>
      <p:sp>
        <p:nvSpPr>
          <p:cNvPr id="4" name="TextBox 3"/>
          <p:cNvSpPr txBox="1"/>
          <p:nvPr/>
        </p:nvSpPr>
        <p:spPr>
          <a:xfrm>
            <a:off x="8318831" y="2134359"/>
            <a:ext cx="825169" cy="3328732"/>
          </a:xfrm>
          <a:prstGeom prst="rect">
            <a:avLst/>
          </a:prstGeom>
          <a:noFill/>
        </p:spPr>
        <p:txBody>
          <a:bodyPr wrap="square" rtlCol="0">
            <a:spAutoFit/>
          </a:bodyPr>
          <a:lstStyle/>
          <a:p>
            <a:pPr>
              <a:lnSpc>
                <a:spcPts val="1200"/>
              </a:lnSpc>
            </a:pPr>
            <a:r>
              <a:rPr lang="en-US" sz="1200" dirty="0" smtClean="0">
                <a:solidFill>
                  <a:schemeClr val="bg1">
                    <a:lumMod val="75000"/>
                  </a:schemeClr>
                </a:solidFill>
                <a:latin typeface="Garamond" pitchFamily="18" charset="0"/>
              </a:rPr>
              <a:t>flow</a:t>
            </a:r>
          </a:p>
          <a:p>
            <a:pPr>
              <a:lnSpc>
                <a:spcPts val="1200"/>
              </a:lnSpc>
            </a:pPr>
            <a:r>
              <a:rPr lang="en-US" sz="1200" dirty="0" smtClean="0">
                <a:solidFill>
                  <a:schemeClr val="bg1">
                    <a:lumMod val="75000"/>
                  </a:schemeClr>
                </a:solidFill>
                <a:latin typeface="Garamond" pitchFamily="18" charset="0"/>
              </a:rPr>
              <a:t>structure</a:t>
            </a:r>
          </a:p>
          <a:p>
            <a:pPr>
              <a:lnSpc>
                <a:spcPts val="1200"/>
              </a:lnSpc>
            </a:pPr>
            <a:r>
              <a:rPr lang="en-US" sz="1200" dirty="0" smtClean="0">
                <a:solidFill>
                  <a:schemeClr val="bg1">
                    <a:lumMod val="75000"/>
                  </a:schemeClr>
                </a:solidFill>
                <a:latin typeface="Garamond" pitchFamily="18" charset="0"/>
              </a:rPr>
              <a:t>matrix</a:t>
            </a:r>
          </a:p>
          <a:p>
            <a:pPr>
              <a:lnSpc>
                <a:spcPts val="1200"/>
              </a:lnSpc>
            </a:pPr>
            <a:r>
              <a:rPr lang="en-US" sz="1200" dirty="0" smtClean="0">
                <a:solidFill>
                  <a:schemeClr val="bg1">
                    <a:lumMod val="75000"/>
                  </a:schemeClr>
                </a:solidFill>
                <a:latin typeface="Garamond" pitchFamily="18" charset="0"/>
              </a:rPr>
              <a:t>waves</a:t>
            </a:r>
          </a:p>
          <a:p>
            <a:pPr>
              <a:lnSpc>
                <a:spcPts val="1200"/>
              </a:lnSpc>
            </a:pPr>
            <a:r>
              <a:rPr lang="en-US" sz="1200" dirty="0" smtClean="0">
                <a:solidFill>
                  <a:schemeClr val="bg1">
                    <a:lumMod val="75000"/>
                  </a:schemeClr>
                </a:solidFill>
                <a:latin typeface="Garamond" pitchFamily="18" charset="0"/>
              </a:rPr>
              <a:t>cogs</a:t>
            </a:r>
          </a:p>
          <a:p>
            <a:pPr>
              <a:lnSpc>
                <a:spcPts val="1200"/>
              </a:lnSpc>
            </a:pPr>
            <a:r>
              <a:rPr lang="en-US" sz="1200" dirty="0" smtClean="0">
                <a:solidFill>
                  <a:schemeClr val="bg1">
                    <a:lumMod val="75000"/>
                  </a:schemeClr>
                </a:solidFill>
                <a:latin typeface="Garamond" pitchFamily="18" charset="0"/>
              </a:rPr>
              <a:t>target</a:t>
            </a:r>
          </a:p>
          <a:p>
            <a:pPr>
              <a:lnSpc>
                <a:spcPts val="1200"/>
              </a:lnSpc>
            </a:pPr>
            <a:r>
              <a:rPr lang="en-US" sz="1200" dirty="0" smtClean="0">
                <a:solidFill>
                  <a:schemeClr val="bg1">
                    <a:lumMod val="75000"/>
                  </a:schemeClr>
                </a:solidFill>
                <a:latin typeface="Garamond" pitchFamily="18" charset="0"/>
              </a:rPr>
              <a:t>filter</a:t>
            </a:r>
          </a:p>
          <a:p>
            <a:pPr>
              <a:lnSpc>
                <a:spcPts val="1200"/>
              </a:lnSpc>
            </a:pPr>
            <a:r>
              <a:rPr lang="en-US" sz="1200" dirty="0" smtClean="0">
                <a:solidFill>
                  <a:schemeClr val="bg1">
                    <a:lumMod val="75000"/>
                  </a:schemeClr>
                </a:solidFill>
                <a:latin typeface="Garamond" pitchFamily="18" charset="0"/>
              </a:rPr>
              <a:t>circle</a:t>
            </a:r>
          </a:p>
          <a:p>
            <a:pPr>
              <a:lnSpc>
                <a:spcPts val="1200"/>
              </a:lnSpc>
            </a:pPr>
            <a:r>
              <a:rPr lang="en-US" sz="1200" dirty="0" smtClean="0">
                <a:solidFill>
                  <a:schemeClr val="bg1">
                    <a:lumMod val="75000"/>
                  </a:schemeClr>
                </a:solidFill>
                <a:latin typeface="Garamond" pitchFamily="18" charset="0"/>
              </a:rPr>
              <a:t>pyramid</a:t>
            </a:r>
          </a:p>
          <a:p>
            <a:pPr>
              <a:lnSpc>
                <a:spcPts val="1200"/>
              </a:lnSpc>
            </a:pPr>
            <a:r>
              <a:rPr lang="en-US" sz="1200" dirty="0" smtClean="0">
                <a:solidFill>
                  <a:schemeClr val="bg1">
                    <a:lumMod val="75000"/>
                  </a:schemeClr>
                </a:solidFill>
                <a:latin typeface="Garamond" pitchFamily="18" charset="0"/>
              </a:rPr>
              <a:t>interaction</a:t>
            </a:r>
          </a:p>
          <a:p>
            <a:pPr>
              <a:lnSpc>
                <a:spcPts val="1200"/>
              </a:lnSpc>
            </a:pPr>
            <a:r>
              <a:rPr lang="en-US" sz="1200" dirty="0" smtClean="0">
                <a:solidFill>
                  <a:schemeClr val="bg1">
                    <a:lumMod val="75000"/>
                  </a:schemeClr>
                </a:solidFill>
                <a:latin typeface="Garamond" pitchFamily="18" charset="0"/>
              </a:rPr>
              <a:t>forces</a:t>
            </a:r>
          </a:p>
          <a:p>
            <a:pPr>
              <a:lnSpc>
                <a:spcPts val="1200"/>
              </a:lnSpc>
            </a:pPr>
            <a:r>
              <a:rPr lang="en-US" sz="1200" dirty="0" smtClean="0">
                <a:solidFill>
                  <a:schemeClr val="bg1">
                    <a:lumMod val="75000"/>
                  </a:schemeClr>
                </a:solidFill>
                <a:latin typeface="Garamond" pitchFamily="18" charset="0"/>
              </a:rPr>
              <a:t>tree</a:t>
            </a:r>
          </a:p>
          <a:p>
            <a:pPr>
              <a:lnSpc>
                <a:spcPts val="1200"/>
              </a:lnSpc>
            </a:pPr>
            <a:r>
              <a:rPr lang="en-US" sz="1200" dirty="0" smtClean="0">
                <a:solidFill>
                  <a:schemeClr val="bg1">
                    <a:lumMod val="75000"/>
                  </a:schemeClr>
                </a:solidFill>
                <a:latin typeface="Garamond" pitchFamily="18" charset="0"/>
              </a:rPr>
              <a:t>table</a:t>
            </a:r>
          </a:p>
          <a:p>
            <a:pPr>
              <a:lnSpc>
                <a:spcPts val="1200"/>
              </a:lnSpc>
            </a:pPr>
            <a:r>
              <a:rPr lang="en-US" sz="1200" dirty="0" smtClean="0">
                <a:solidFill>
                  <a:schemeClr val="bg1">
                    <a:lumMod val="75000"/>
                  </a:schemeClr>
                </a:solidFill>
                <a:latin typeface="Garamond" pitchFamily="18" charset="0"/>
              </a:rPr>
              <a:t>balance</a:t>
            </a:r>
          </a:p>
          <a:p>
            <a:pPr>
              <a:lnSpc>
                <a:spcPts val="1200"/>
              </a:lnSpc>
            </a:pPr>
            <a:r>
              <a:rPr lang="en-US" sz="1200" dirty="0" smtClean="0">
                <a:solidFill>
                  <a:schemeClr val="bg1">
                    <a:lumMod val="75000"/>
                  </a:schemeClr>
                </a:solidFill>
                <a:latin typeface="Garamond" pitchFamily="18" charset="0"/>
              </a:rPr>
              <a:t>barrier</a:t>
            </a:r>
          </a:p>
          <a:p>
            <a:pPr>
              <a:lnSpc>
                <a:spcPts val="1200"/>
              </a:lnSpc>
            </a:pPr>
            <a:r>
              <a:rPr lang="en-US" sz="1200" dirty="0" smtClean="0">
                <a:solidFill>
                  <a:schemeClr val="bg1">
                    <a:lumMod val="75000"/>
                  </a:schemeClr>
                </a:solidFill>
                <a:latin typeface="Garamond" pitchFamily="18" charset="0"/>
              </a:rPr>
              <a:t>map</a:t>
            </a:r>
          </a:p>
          <a:p>
            <a:pPr>
              <a:lnSpc>
                <a:spcPts val="1200"/>
              </a:lnSpc>
            </a:pPr>
            <a:r>
              <a:rPr lang="en-US" sz="1200" dirty="0" smtClean="0">
                <a:solidFill>
                  <a:schemeClr val="bg1">
                    <a:lumMod val="75000"/>
                  </a:schemeClr>
                </a:solidFill>
                <a:latin typeface="Garamond" pitchFamily="18" charset="0"/>
              </a:rPr>
              <a:t>segment </a:t>
            </a:r>
          </a:p>
          <a:p>
            <a:pPr>
              <a:lnSpc>
                <a:spcPts val="1200"/>
              </a:lnSpc>
            </a:pPr>
            <a:r>
              <a:rPr lang="en-US" sz="1200" dirty="0" smtClean="0">
                <a:solidFill>
                  <a:schemeClr val="bg1">
                    <a:lumMod val="75000"/>
                  </a:schemeClr>
                </a:solidFill>
                <a:latin typeface="Garamond" pitchFamily="18" charset="0"/>
              </a:rPr>
              <a:t>lever</a:t>
            </a:r>
          </a:p>
          <a:p>
            <a:pPr>
              <a:lnSpc>
                <a:spcPts val="1200"/>
              </a:lnSpc>
            </a:pPr>
            <a:r>
              <a:rPr lang="en-US" sz="1200" dirty="0" smtClean="0">
                <a:solidFill>
                  <a:schemeClr val="bg1">
                    <a:lumMod val="75000"/>
                  </a:schemeClr>
                </a:solidFill>
                <a:latin typeface="Garamond" pitchFamily="18" charset="0"/>
              </a:rPr>
              <a:t>timeline</a:t>
            </a:r>
          </a:p>
          <a:p>
            <a:pPr>
              <a:lnSpc>
                <a:spcPts val="1200"/>
              </a:lnSpc>
            </a:pPr>
            <a:r>
              <a:rPr lang="en-US" sz="1200" dirty="0" smtClean="0">
                <a:solidFill>
                  <a:schemeClr val="bg1">
                    <a:lumMod val="75000"/>
                  </a:schemeClr>
                </a:solidFill>
                <a:latin typeface="Garamond" pitchFamily="18" charset="0"/>
              </a:rPr>
              <a:t>gantt</a:t>
            </a:r>
          </a:p>
          <a:p>
            <a:pPr>
              <a:lnSpc>
                <a:spcPts val="1200"/>
              </a:lnSpc>
            </a:pPr>
            <a:r>
              <a:rPr lang="en-US" sz="1200" dirty="0" smtClean="0">
                <a:solidFill>
                  <a:schemeClr val="bg1">
                    <a:lumMod val="75000"/>
                  </a:schemeClr>
                </a:solidFill>
                <a:latin typeface="Garamond" pitchFamily="18" charset="0"/>
              </a:rPr>
              <a:t>measure</a:t>
            </a:r>
            <a:endParaRPr lang="en-AU" sz="1200" dirty="0" err="1" smtClean="0">
              <a:solidFill>
                <a:schemeClr val="bg1">
                  <a:lumMod val="75000"/>
                </a:schemeClr>
              </a:solidFill>
              <a:latin typeface="Garamond" pitchFamily="18" charset="0"/>
            </a:endParaRPr>
          </a:p>
        </p:txBody>
      </p:sp>
      <p:sp>
        <p:nvSpPr>
          <p:cNvPr id="5" name="TextBox 4"/>
          <p:cNvSpPr txBox="1"/>
          <p:nvPr/>
        </p:nvSpPr>
        <p:spPr>
          <a:xfrm>
            <a:off x="828675" y="6177516"/>
            <a:ext cx="7902740" cy="338554"/>
          </a:xfrm>
          <a:prstGeom prst="rect">
            <a:avLst/>
          </a:prstGeom>
          <a:noFill/>
          <a:ln>
            <a:solidFill>
              <a:schemeClr val="tx1"/>
            </a:solidFill>
          </a:ln>
        </p:spPr>
        <p:txBody>
          <a:bodyPr wrap="square" rtlCol="0">
            <a:spAutoFit/>
          </a:bodyPr>
          <a:lstStyle/>
          <a:p>
            <a:r>
              <a:rPr lang="en-US" sz="1600" b="1" i="1" dirty="0" smtClean="0">
                <a:latin typeface="Garamond" pitchFamily="18" charset="0"/>
              </a:rPr>
              <a:t>This is a sample ‘taster’ of the whole file. This is the first 75 of over 300 different images.</a:t>
            </a:r>
            <a:endParaRPr lang="en-AU" sz="1600" b="1" i="1" dirty="0" err="1" smtClean="0">
              <a:latin typeface="Garamond" pitchFamily="18" charset="0"/>
            </a:endParaRPr>
          </a:p>
        </p:txBody>
      </p:sp>
    </p:spTree>
    <p:extLst>
      <p:ext uri="{BB962C8B-B14F-4D97-AF65-F5344CB8AC3E}">
        <p14:creationId xmlns:p14="http://schemas.microsoft.com/office/powerpoint/2010/main" val="1331544415"/>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5174617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85" name="think-cell Slide" r:id="rId8" imgW="6350000" imgH="6350000" progId="TCLayout.ActiveDocument.1">
                  <p:embed/>
                </p:oleObj>
              </mc:Choice>
              <mc:Fallback>
                <p:oleObj name="think-cell Slide" r:id="rId8" imgW="6350000" imgH="6350000" progId="TCLayout.ActiveDocument.1">
                  <p:embed/>
                  <p:pic>
                    <p:nvPicPr>
                      <p:cNvPr id="0" name="Picture 10"/>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 name="Freeform 8"/>
          <p:cNvSpPr>
            <a:spLocks/>
          </p:cNvSpPr>
          <p:nvPr/>
        </p:nvSpPr>
        <p:spPr bwMode="auto">
          <a:xfrm>
            <a:off x="4334596" y="2254083"/>
            <a:ext cx="2660992" cy="3455637"/>
          </a:xfrm>
          <a:custGeom>
            <a:avLst/>
            <a:gdLst/>
            <a:ahLst/>
            <a:cxnLst>
              <a:cxn ang="0">
                <a:pos x="0" y="312"/>
              </a:cxn>
              <a:cxn ang="0">
                <a:pos x="1471" y="312"/>
              </a:cxn>
              <a:cxn ang="0">
                <a:pos x="1471" y="0"/>
              </a:cxn>
              <a:cxn ang="0">
                <a:pos x="1863" y="1247"/>
              </a:cxn>
              <a:cxn ang="0">
                <a:pos x="1471" y="2494"/>
              </a:cxn>
              <a:cxn ang="0">
                <a:pos x="1471" y="2214"/>
              </a:cxn>
              <a:cxn ang="0">
                <a:pos x="0" y="2214"/>
              </a:cxn>
              <a:cxn ang="0">
                <a:pos x="432" y="1263"/>
              </a:cxn>
              <a:cxn ang="0">
                <a:pos x="0" y="312"/>
              </a:cxn>
            </a:cxnLst>
            <a:rect l="0" t="0" r="r" b="b"/>
            <a:pathLst>
              <a:path w="1864" h="2495">
                <a:moveTo>
                  <a:pt x="0" y="312"/>
                </a:moveTo>
                <a:lnTo>
                  <a:pt x="1471" y="312"/>
                </a:lnTo>
                <a:lnTo>
                  <a:pt x="1471" y="0"/>
                </a:lnTo>
                <a:lnTo>
                  <a:pt x="1863" y="1247"/>
                </a:lnTo>
                <a:lnTo>
                  <a:pt x="1471" y="2494"/>
                </a:lnTo>
                <a:lnTo>
                  <a:pt x="1471" y="2214"/>
                </a:lnTo>
                <a:lnTo>
                  <a:pt x="0" y="2214"/>
                </a:lnTo>
                <a:lnTo>
                  <a:pt x="432" y="1263"/>
                </a:lnTo>
                <a:lnTo>
                  <a:pt x="0" y="312"/>
                </a:lnTo>
              </a:path>
            </a:pathLst>
          </a:custGeom>
          <a:solidFill>
            <a:srgbClr val="4F81BD"/>
          </a:solidFill>
          <a:ln w="9525" cap="rnd" cmpd="sng">
            <a:solidFill>
              <a:srgbClr val="FFFFFF"/>
            </a:solidFill>
            <a:prstDash val="solid"/>
            <a:round/>
            <a:headEnd/>
            <a:tailEnd/>
          </a:ln>
          <a:effectLst/>
        </p:spPr>
        <p:txBody>
          <a:bodyPr>
            <a:prstTxWarp prst="textNoShape">
              <a:avLst/>
            </a:prstTxWarp>
          </a:bodyPr>
          <a:lstStyle/>
          <a:p>
            <a:endParaRPr lang="en-GB" sz="1600" dirty="0">
              <a:solidFill>
                <a:srgbClr val="FFFFFF"/>
              </a:solidFill>
              <a:latin typeface="Garamond"/>
            </a:endParaRPr>
          </a:p>
        </p:txBody>
      </p:sp>
      <p:sp>
        <p:nvSpPr>
          <p:cNvPr id="23" name="Rectangle 12"/>
          <p:cNvSpPr>
            <a:spLocks noChangeArrowheads="1"/>
          </p:cNvSpPr>
          <p:nvPr/>
        </p:nvSpPr>
        <p:spPr bwMode="auto">
          <a:xfrm>
            <a:off x="5041861" y="3872024"/>
            <a:ext cx="1789921" cy="251344"/>
          </a:xfrm>
          <a:prstGeom prst="rect">
            <a:avLst/>
          </a:prstGeom>
          <a:noFill/>
          <a:ln w="9525">
            <a:noFill/>
            <a:miter lim="800000"/>
            <a:headEnd/>
            <a:tailEnd/>
          </a:ln>
          <a:effectLst/>
        </p:spPr>
        <p:txBody>
          <a:bodyPr wrap="square" lIns="0" tIns="0" rIns="0" bIns="0" anchor="ctr">
            <a:prstTxWarp prst="textNoShape">
              <a:avLst/>
            </a:prstTxWarp>
            <a:spAutoFit/>
          </a:bodyPr>
          <a:lstStyle/>
          <a:p>
            <a:pPr defTabSz="787261">
              <a:spcBef>
                <a:spcPct val="20000"/>
              </a:spcBef>
            </a:pPr>
            <a:r>
              <a:rPr lang="en-AU" sz="1600" dirty="0">
                <a:solidFill>
                  <a:srgbClr val="FFFFFF"/>
                </a:solidFill>
                <a:latin typeface="Garamond"/>
              </a:rPr>
              <a:t>Text</a:t>
            </a:r>
          </a:p>
        </p:txBody>
      </p:sp>
      <p:sp>
        <p:nvSpPr>
          <p:cNvPr id="19" name="Title 3"/>
          <p:cNvSpPr txBox="1">
            <a:spLocks/>
          </p:cNvSpPr>
          <p:nvPr>
            <p:custDataLst>
              <p:tags r:id="rId3"/>
            </p:custDataLst>
          </p:nvPr>
        </p:nvSpPr>
        <p:spPr>
          <a:xfrm>
            <a:off x="754204" y="5545148"/>
            <a:ext cx="6891495" cy="822961"/>
          </a:xfrm>
          <a:prstGeom prst="rect">
            <a:avLst/>
          </a:prstGeom>
        </p:spPr>
        <p:txBody>
          <a:bodyPr vert="horz" lIns="80133" tIns="40067" rIns="80133" bIns="40067" rtlCol="0" anchor="b" anchorCtr="0">
            <a:normAutofit/>
          </a:bodyPr>
          <a:lstStyle>
            <a:lvl1pPr algn="l" defTabSz="914239" rtl="0" eaLnBrk="1" latinLnBrk="0" hangingPunct="1">
              <a:spcBef>
                <a:spcPct val="0"/>
              </a:spcBef>
              <a:buNone/>
              <a:defRPr sz="2800" kern="1200">
                <a:solidFill>
                  <a:schemeClr val="accent1"/>
                </a:solidFill>
                <a:latin typeface="Garamond" pitchFamily="18" charset="0"/>
                <a:ea typeface="+mj-ea"/>
                <a:cs typeface="+mj-cs"/>
              </a:defRPr>
            </a:lvl1pPr>
          </a:lstStyle>
          <a:p>
            <a:r>
              <a:rPr lang="en-GB" sz="1200" dirty="0">
                <a:solidFill>
                  <a:schemeClr val="tx2"/>
                </a:solidFill>
              </a:rPr>
              <a:t>Footnotes and assumptions: list</a:t>
            </a:r>
          </a:p>
          <a:p>
            <a:r>
              <a:rPr lang="en-GB" sz="1200" dirty="0">
                <a:solidFill>
                  <a:schemeClr val="tx2"/>
                </a:solidFill>
              </a:rPr>
              <a:t>Source: List sources</a:t>
            </a:r>
          </a:p>
        </p:txBody>
      </p:sp>
      <p:sp>
        <p:nvSpPr>
          <p:cNvPr id="28" name="Rectangle 4"/>
          <p:cNvSpPr>
            <a:spLocks noGrp="1" noChangeArrowheads="1"/>
          </p:cNvSpPr>
          <p:nvPr>
            <p:ph type="title"/>
            <p:custDataLst>
              <p:tags r:id="rId4"/>
            </p:custDataLst>
          </p:nvPr>
        </p:nvSpPr>
        <p:spPr/>
        <p:txBody>
          <a:bodyPr/>
          <a:lstStyle/>
          <a:p>
            <a:r>
              <a:rPr lang="en-GB" dirty="0" smtClean="0"/>
              <a:t>Message title – </a:t>
            </a:r>
            <a:r>
              <a:rPr lang="en-US" dirty="0" smtClean="0"/>
              <a:t>why are you showing it? flow</a:t>
            </a:r>
            <a:endParaRPr lang="en-GB" dirty="0"/>
          </a:p>
        </p:txBody>
      </p:sp>
      <p:sp>
        <p:nvSpPr>
          <p:cNvPr id="5" name="Footer Placeholder 4"/>
          <p:cNvSpPr>
            <a:spLocks noGrp="1"/>
          </p:cNvSpPr>
          <p:nvPr>
            <p:ph type="ftr" sz="quarter" idx="3"/>
          </p:nvPr>
        </p:nvSpPr>
        <p:spPr/>
        <p:txBody>
          <a:bodyPr/>
          <a:lstStyle/>
          <a:p>
            <a:r>
              <a:rPr lang="en-US" dirty="0" smtClean="0"/>
              <a:t>neil young |neil@ogcommunicationdesign.com |www.ogcommunicationdesign.com</a:t>
            </a:r>
            <a:endParaRPr lang="en-US" dirty="0"/>
          </a:p>
        </p:txBody>
      </p:sp>
      <p:sp>
        <p:nvSpPr>
          <p:cNvPr id="17" name="Slide Number Placeholder 16"/>
          <p:cNvSpPr>
            <a:spLocks noGrp="1"/>
          </p:cNvSpPr>
          <p:nvPr>
            <p:ph type="sldNum" sz="quarter" idx="4"/>
            <p:custDataLst>
              <p:tags r:id="rId5"/>
            </p:custDataLst>
          </p:nvPr>
        </p:nvSpPr>
        <p:spPr/>
        <p:txBody>
          <a:bodyPr/>
          <a:lstStyle/>
          <a:p>
            <a:fld id="{27F67E6B-0F24-40AE-9272-914C56B63673}" type="slidenum">
              <a:rPr lang="en-AU" smtClean="0"/>
              <a:pPr/>
              <a:t>9</a:t>
            </a:fld>
            <a:r>
              <a:rPr lang="en-AU" dirty="0" smtClean="0"/>
              <a:t> </a:t>
            </a:r>
            <a:endParaRPr lang="en-AU" dirty="0"/>
          </a:p>
        </p:txBody>
      </p:sp>
      <p:sp>
        <p:nvSpPr>
          <p:cNvPr id="18" name="TextBox 17"/>
          <p:cNvSpPr txBox="1"/>
          <p:nvPr>
            <p:custDataLst>
              <p:tags r:id="rId6"/>
            </p:custDataLst>
          </p:nvPr>
        </p:nvSpPr>
        <p:spPr>
          <a:xfrm>
            <a:off x="755338" y="1481982"/>
            <a:ext cx="7606753" cy="362896"/>
          </a:xfrm>
          <a:prstGeom prst="rect">
            <a:avLst/>
          </a:prstGeom>
          <a:noFill/>
        </p:spPr>
        <p:txBody>
          <a:bodyPr wrap="square" lIns="80147" tIns="40074" rIns="80147" bIns="40074" rtlCol="0">
            <a:spAutoFit/>
          </a:bodyPr>
          <a:lstStyle/>
          <a:p>
            <a:r>
              <a:rPr lang="en-ZW" dirty="0">
                <a:latin typeface="Garamond" pitchFamily="18" charset="0"/>
              </a:rPr>
              <a:t>Title – what are you showing on this page?</a:t>
            </a:r>
          </a:p>
        </p:txBody>
      </p:sp>
      <p:sp>
        <p:nvSpPr>
          <p:cNvPr id="24" name="Freeform 5"/>
          <p:cNvSpPr>
            <a:spLocks/>
          </p:cNvSpPr>
          <p:nvPr/>
        </p:nvSpPr>
        <p:spPr bwMode="auto">
          <a:xfrm>
            <a:off x="2154696" y="4324695"/>
            <a:ext cx="2649571" cy="997218"/>
          </a:xfrm>
          <a:custGeom>
            <a:avLst/>
            <a:gdLst/>
            <a:ahLst/>
            <a:cxnLst>
              <a:cxn ang="0">
                <a:pos x="1527" y="312"/>
              </a:cxn>
              <a:cxn ang="0">
                <a:pos x="1527" y="719"/>
              </a:cxn>
              <a:cxn ang="0">
                <a:pos x="1855" y="0"/>
              </a:cxn>
              <a:cxn ang="0">
                <a:pos x="0" y="0"/>
              </a:cxn>
              <a:cxn ang="0">
                <a:pos x="0" y="312"/>
              </a:cxn>
              <a:cxn ang="0">
                <a:pos x="1527" y="312"/>
              </a:cxn>
            </a:cxnLst>
            <a:rect l="0" t="0" r="r" b="b"/>
            <a:pathLst>
              <a:path w="1856" h="720">
                <a:moveTo>
                  <a:pt x="1527" y="312"/>
                </a:moveTo>
                <a:lnTo>
                  <a:pt x="1527" y="719"/>
                </a:lnTo>
                <a:lnTo>
                  <a:pt x="1855" y="0"/>
                </a:lnTo>
                <a:lnTo>
                  <a:pt x="0" y="0"/>
                </a:lnTo>
                <a:lnTo>
                  <a:pt x="0" y="312"/>
                </a:lnTo>
                <a:lnTo>
                  <a:pt x="1527" y="312"/>
                </a:lnTo>
              </a:path>
            </a:pathLst>
          </a:custGeom>
          <a:solidFill>
            <a:schemeClr val="tx2"/>
          </a:solidFill>
          <a:ln w="9525">
            <a:solidFill>
              <a:srgbClr val="FFFFFF"/>
            </a:solidFill>
            <a:miter lim="800000"/>
            <a:headEnd/>
            <a:tailEnd/>
          </a:ln>
          <a:effectLst/>
        </p:spPr>
        <p:txBody>
          <a:bodyPr lIns="80147" tIns="40074" rIns="80147" bIns="40074">
            <a:prstTxWarp prst="textNoShape">
              <a:avLst/>
            </a:prstTxWarp>
          </a:bodyPr>
          <a:lstStyle/>
          <a:p>
            <a:pPr indent="-269827"/>
            <a:endParaRPr lang="en-GB" sz="1600" dirty="0">
              <a:solidFill>
                <a:schemeClr val="bg1"/>
              </a:solidFill>
              <a:latin typeface="Garamond"/>
            </a:endParaRPr>
          </a:p>
        </p:txBody>
      </p:sp>
      <p:sp>
        <p:nvSpPr>
          <p:cNvPr id="25" name="Freeform 6"/>
          <p:cNvSpPr>
            <a:spLocks/>
          </p:cNvSpPr>
          <p:nvPr/>
        </p:nvSpPr>
        <p:spPr bwMode="auto">
          <a:xfrm>
            <a:off x="2154696" y="2686211"/>
            <a:ext cx="2649571" cy="997218"/>
          </a:xfrm>
          <a:custGeom>
            <a:avLst/>
            <a:gdLst/>
            <a:ahLst/>
            <a:cxnLst>
              <a:cxn ang="0">
                <a:pos x="1527" y="407"/>
              </a:cxn>
              <a:cxn ang="0">
                <a:pos x="1527" y="0"/>
              </a:cxn>
              <a:cxn ang="0">
                <a:pos x="1855" y="719"/>
              </a:cxn>
              <a:cxn ang="0">
                <a:pos x="0" y="719"/>
              </a:cxn>
              <a:cxn ang="0">
                <a:pos x="0" y="407"/>
              </a:cxn>
              <a:cxn ang="0">
                <a:pos x="1527" y="407"/>
              </a:cxn>
            </a:cxnLst>
            <a:rect l="0" t="0" r="r" b="b"/>
            <a:pathLst>
              <a:path w="1856" h="720">
                <a:moveTo>
                  <a:pt x="1527" y="407"/>
                </a:moveTo>
                <a:lnTo>
                  <a:pt x="1527" y="0"/>
                </a:lnTo>
                <a:lnTo>
                  <a:pt x="1855" y="719"/>
                </a:lnTo>
                <a:lnTo>
                  <a:pt x="0" y="719"/>
                </a:lnTo>
                <a:lnTo>
                  <a:pt x="0" y="407"/>
                </a:lnTo>
                <a:lnTo>
                  <a:pt x="1527" y="407"/>
                </a:lnTo>
              </a:path>
            </a:pathLst>
          </a:custGeom>
          <a:solidFill>
            <a:schemeClr val="tx2"/>
          </a:solidFill>
          <a:ln w="9525">
            <a:solidFill>
              <a:srgbClr val="FFFFFF"/>
            </a:solidFill>
            <a:miter lim="800000"/>
            <a:headEnd/>
            <a:tailEnd/>
          </a:ln>
          <a:effectLst/>
        </p:spPr>
        <p:txBody>
          <a:bodyPr lIns="80147" tIns="40074" rIns="80147" bIns="40074">
            <a:prstTxWarp prst="textNoShape">
              <a:avLst/>
            </a:prstTxWarp>
          </a:bodyPr>
          <a:lstStyle/>
          <a:p>
            <a:pPr indent="-269827"/>
            <a:endParaRPr lang="en-GB" sz="1600" dirty="0">
              <a:solidFill>
                <a:schemeClr val="bg1"/>
              </a:solidFill>
              <a:latin typeface="Garamond"/>
            </a:endParaRPr>
          </a:p>
        </p:txBody>
      </p:sp>
      <p:sp>
        <p:nvSpPr>
          <p:cNvPr id="26" name="Freeform 7"/>
          <p:cNvSpPr>
            <a:spLocks/>
          </p:cNvSpPr>
          <p:nvPr/>
        </p:nvSpPr>
        <p:spPr bwMode="auto">
          <a:xfrm>
            <a:off x="2156124" y="3759605"/>
            <a:ext cx="2796611" cy="501379"/>
          </a:xfrm>
          <a:custGeom>
            <a:avLst/>
            <a:gdLst/>
            <a:ahLst/>
            <a:cxnLst>
              <a:cxn ang="0">
                <a:pos x="0" y="0"/>
              </a:cxn>
              <a:cxn ang="0">
                <a:pos x="1885" y="0"/>
              </a:cxn>
              <a:cxn ang="0">
                <a:pos x="1958" y="184"/>
              </a:cxn>
              <a:cxn ang="0">
                <a:pos x="1882" y="361"/>
              </a:cxn>
              <a:cxn ang="0">
                <a:pos x="0" y="360"/>
              </a:cxn>
              <a:cxn ang="0">
                <a:pos x="0" y="0"/>
              </a:cxn>
            </a:cxnLst>
            <a:rect l="0" t="0" r="r" b="b"/>
            <a:pathLst>
              <a:path w="1959" h="362">
                <a:moveTo>
                  <a:pt x="0" y="0"/>
                </a:moveTo>
                <a:lnTo>
                  <a:pt x="1885" y="0"/>
                </a:lnTo>
                <a:lnTo>
                  <a:pt x="1958" y="184"/>
                </a:lnTo>
                <a:lnTo>
                  <a:pt x="1882" y="361"/>
                </a:lnTo>
                <a:lnTo>
                  <a:pt x="0" y="360"/>
                </a:lnTo>
                <a:lnTo>
                  <a:pt x="0" y="0"/>
                </a:lnTo>
              </a:path>
            </a:pathLst>
          </a:custGeom>
          <a:solidFill>
            <a:schemeClr val="tx2"/>
          </a:solidFill>
          <a:ln w="9525">
            <a:solidFill>
              <a:srgbClr val="FFFFFF"/>
            </a:solidFill>
            <a:miter lim="800000"/>
            <a:headEnd/>
            <a:tailEnd/>
          </a:ln>
          <a:effectLst/>
        </p:spPr>
        <p:txBody>
          <a:bodyPr lIns="80147" tIns="40074" rIns="80147" bIns="40074">
            <a:prstTxWarp prst="textNoShape">
              <a:avLst/>
            </a:prstTxWarp>
          </a:bodyPr>
          <a:lstStyle/>
          <a:p>
            <a:pPr indent="-269827"/>
            <a:endParaRPr lang="en-GB" sz="1600" dirty="0">
              <a:solidFill>
                <a:schemeClr val="bg1"/>
              </a:solidFill>
              <a:latin typeface="Garamond"/>
            </a:endParaRPr>
          </a:p>
        </p:txBody>
      </p:sp>
      <p:sp>
        <p:nvSpPr>
          <p:cNvPr id="20" name="Rectangle 9"/>
          <p:cNvSpPr>
            <a:spLocks noChangeArrowheads="1"/>
          </p:cNvSpPr>
          <p:nvPr/>
        </p:nvSpPr>
        <p:spPr bwMode="auto">
          <a:xfrm>
            <a:off x="2253602" y="3341867"/>
            <a:ext cx="2280329" cy="251344"/>
          </a:xfrm>
          <a:prstGeom prst="rect">
            <a:avLst/>
          </a:prstGeom>
          <a:noFill/>
          <a:ln w="9525">
            <a:noFill/>
            <a:miter lim="800000"/>
            <a:headEnd/>
            <a:tailEnd/>
          </a:ln>
          <a:effectLst/>
        </p:spPr>
        <p:txBody>
          <a:bodyPr wrap="square" lIns="0" tIns="0" rIns="0" bIns="0" anchor="ctr">
            <a:prstTxWarp prst="textNoShape">
              <a:avLst/>
            </a:prstTxWarp>
            <a:spAutoFit/>
          </a:bodyPr>
          <a:lstStyle/>
          <a:p>
            <a:pPr defTabSz="787261">
              <a:spcBef>
                <a:spcPct val="20000"/>
              </a:spcBef>
            </a:pPr>
            <a:r>
              <a:rPr lang="en-AU" sz="1600" dirty="0">
                <a:solidFill>
                  <a:srgbClr val="FFFFFF"/>
                </a:solidFill>
                <a:latin typeface="Garamond"/>
              </a:rPr>
              <a:t>Text</a:t>
            </a:r>
          </a:p>
        </p:txBody>
      </p:sp>
      <p:sp>
        <p:nvSpPr>
          <p:cNvPr id="21" name="Rectangle 10"/>
          <p:cNvSpPr>
            <a:spLocks noChangeArrowheads="1"/>
          </p:cNvSpPr>
          <p:nvPr/>
        </p:nvSpPr>
        <p:spPr bwMode="auto">
          <a:xfrm>
            <a:off x="2253602" y="3888506"/>
            <a:ext cx="2280329" cy="251344"/>
          </a:xfrm>
          <a:prstGeom prst="rect">
            <a:avLst/>
          </a:prstGeom>
          <a:noFill/>
          <a:ln w="9525">
            <a:noFill/>
            <a:miter lim="800000"/>
            <a:headEnd/>
            <a:tailEnd/>
          </a:ln>
          <a:effectLst/>
        </p:spPr>
        <p:txBody>
          <a:bodyPr wrap="square" lIns="0" tIns="0" rIns="0" bIns="0" anchor="ctr">
            <a:prstTxWarp prst="textNoShape">
              <a:avLst/>
            </a:prstTxWarp>
            <a:spAutoFit/>
          </a:bodyPr>
          <a:lstStyle/>
          <a:p>
            <a:pPr defTabSz="787261">
              <a:spcBef>
                <a:spcPct val="20000"/>
              </a:spcBef>
            </a:pPr>
            <a:r>
              <a:rPr lang="en-AU" sz="1600" dirty="0">
                <a:solidFill>
                  <a:srgbClr val="FFFFFF"/>
                </a:solidFill>
                <a:latin typeface="Garamond"/>
              </a:rPr>
              <a:t>Text</a:t>
            </a:r>
          </a:p>
        </p:txBody>
      </p:sp>
      <p:sp>
        <p:nvSpPr>
          <p:cNvPr id="22" name="Rectangle 11"/>
          <p:cNvSpPr>
            <a:spLocks noChangeArrowheads="1"/>
          </p:cNvSpPr>
          <p:nvPr/>
        </p:nvSpPr>
        <p:spPr bwMode="auto">
          <a:xfrm>
            <a:off x="2228875" y="4418663"/>
            <a:ext cx="2280329" cy="251344"/>
          </a:xfrm>
          <a:prstGeom prst="rect">
            <a:avLst/>
          </a:prstGeom>
          <a:noFill/>
          <a:ln w="9525">
            <a:noFill/>
            <a:miter lim="800000"/>
            <a:headEnd/>
            <a:tailEnd/>
          </a:ln>
          <a:effectLst/>
        </p:spPr>
        <p:txBody>
          <a:bodyPr wrap="square" lIns="0" tIns="0" rIns="0" bIns="0" anchor="ctr">
            <a:prstTxWarp prst="textNoShape">
              <a:avLst/>
            </a:prstTxWarp>
            <a:spAutoFit/>
          </a:bodyPr>
          <a:lstStyle/>
          <a:p>
            <a:pPr defTabSz="787261">
              <a:spcBef>
                <a:spcPct val="20000"/>
              </a:spcBef>
            </a:pPr>
            <a:r>
              <a:rPr lang="en-AU" sz="1600" dirty="0">
                <a:solidFill>
                  <a:srgbClr val="FFFFFF"/>
                </a:solidFill>
                <a:latin typeface="Garamond"/>
              </a:rPr>
              <a:t>Text</a:t>
            </a:r>
          </a:p>
        </p:txBody>
      </p:sp>
    </p:spTree>
    <p:extLst>
      <p:ext uri="{BB962C8B-B14F-4D97-AF65-F5344CB8AC3E}">
        <p14:creationId xmlns:p14="http://schemas.microsoft.com/office/powerpoint/2010/main" val="127169332"/>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9681079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81" name="think-cell Slide" r:id="rId10" imgW="6350000" imgH="6350000" progId="TCLayout.ActiveDocument.1">
                  <p:embed/>
                </p:oleObj>
              </mc:Choice>
              <mc:Fallback>
                <p:oleObj name="think-cell Slide" r:id="rId10" imgW="6350000" imgH="6350000" progId="TCLayout.ActiveDocument.1">
                  <p:embed/>
                  <p:pic>
                    <p:nvPicPr>
                      <p:cNvPr id="0" name="Picture 10"/>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 name="Freeform 30"/>
          <p:cNvSpPr/>
          <p:nvPr/>
        </p:nvSpPr>
        <p:spPr>
          <a:xfrm>
            <a:off x="1922464" y="1978214"/>
            <a:ext cx="4758267" cy="2188768"/>
          </a:xfrm>
          <a:custGeom>
            <a:avLst/>
            <a:gdLst>
              <a:gd name="connsiteX0" fmla="*/ 0 w 4758267"/>
              <a:gd name="connsiteY0" fmla="*/ 880533 h 1481667"/>
              <a:gd name="connsiteX1" fmla="*/ 3090333 w 4758267"/>
              <a:gd name="connsiteY1" fmla="*/ 880533 h 1481667"/>
              <a:gd name="connsiteX2" fmla="*/ 4182533 w 4758267"/>
              <a:gd name="connsiteY2" fmla="*/ 194733 h 1481667"/>
              <a:gd name="connsiteX3" fmla="*/ 3953933 w 4758267"/>
              <a:gd name="connsiteY3" fmla="*/ 16933 h 1481667"/>
              <a:gd name="connsiteX4" fmla="*/ 4622800 w 4758267"/>
              <a:gd name="connsiteY4" fmla="*/ 0 h 1481667"/>
              <a:gd name="connsiteX5" fmla="*/ 4758267 w 4758267"/>
              <a:gd name="connsiteY5" fmla="*/ 651933 h 1481667"/>
              <a:gd name="connsiteX6" fmla="*/ 4588933 w 4758267"/>
              <a:gd name="connsiteY6" fmla="*/ 499533 h 1481667"/>
              <a:gd name="connsiteX7" fmla="*/ 3234267 w 4758267"/>
              <a:gd name="connsiteY7" fmla="*/ 1473200 h 1481667"/>
              <a:gd name="connsiteX8" fmla="*/ 8467 w 4758267"/>
              <a:gd name="connsiteY8" fmla="*/ 1481667 h 1481667"/>
              <a:gd name="connsiteX0" fmla="*/ 0 w 4758267"/>
              <a:gd name="connsiteY0" fmla="*/ 880533 h 1481667"/>
              <a:gd name="connsiteX1" fmla="*/ 3090333 w 4758267"/>
              <a:gd name="connsiteY1" fmla="*/ 880533 h 1481667"/>
              <a:gd name="connsiteX2" fmla="*/ 4182533 w 4758267"/>
              <a:gd name="connsiteY2" fmla="*/ 194733 h 1481667"/>
              <a:gd name="connsiteX3" fmla="*/ 3953933 w 4758267"/>
              <a:gd name="connsiteY3" fmla="*/ 16933 h 1481667"/>
              <a:gd name="connsiteX4" fmla="*/ 4622800 w 4758267"/>
              <a:gd name="connsiteY4" fmla="*/ 0 h 1481667"/>
              <a:gd name="connsiteX5" fmla="*/ 4758267 w 4758267"/>
              <a:gd name="connsiteY5" fmla="*/ 651933 h 1481667"/>
              <a:gd name="connsiteX6" fmla="*/ 4588933 w 4758267"/>
              <a:gd name="connsiteY6" fmla="*/ 499533 h 1481667"/>
              <a:gd name="connsiteX7" fmla="*/ 3234267 w 4758267"/>
              <a:gd name="connsiteY7" fmla="*/ 1473200 h 1481667"/>
              <a:gd name="connsiteX8" fmla="*/ 8467 w 4758267"/>
              <a:gd name="connsiteY8" fmla="*/ 1481667 h 1481667"/>
              <a:gd name="connsiteX0" fmla="*/ 0 w 4758267"/>
              <a:gd name="connsiteY0" fmla="*/ 880533 h 1481667"/>
              <a:gd name="connsiteX1" fmla="*/ 3090333 w 4758267"/>
              <a:gd name="connsiteY1" fmla="*/ 880533 h 1481667"/>
              <a:gd name="connsiteX2" fmla="*/ 4182533 w 4758267"/>
              <a:gd name="connsiteY2" fmla="*/ 194733 h 1481667"/>
              <a:gd name="connsiteX3" fmla="*/ 3953933 w 4758267"/>
              <a:gd name="connsiteY3" fmla="*/ 16933 h 1481667"/>
              <a:gd name="connsiteX4" fmla="*/ 4622800 w 4758267"/>
              <a:gd name="connsiteY4" fmla="*/ 0 h 1481667"/>
              <a:gd name="connsiteX5" fmla="*/ 4758267 w 4758267"/>
              <a:gd name="connsiteY5" fmla="*/ 651933 h 1481667"/>
              <a:gd name="connsiteX6" fmla="*/ 4588933 w 4758267"/>
              <a:gd name="connsiteY6" fmla="*/ 499533 h 1481667"/>
              <a:gd name="connsiteX7" fmla="*/ 3234267 w 4758267"/>
              <a:gd name="connsiteY7" fmla="*/ 1473200 h 1481667"/>
              <a:gd name="connsiteX8" fmla="*/ 8467 w 4758267"/>
              <a:gd name="connsiteY8" fmla="*/ 1481667 h 1481667"/>
              <a:gd name="connsiteX0" fmla="*/ 0 w 4758267"/>
              <a:gd name="connsiteY0" fmla="*/ 880533 h 1481667"/>
              <a:gd name="connsiteX1" fmla="*/ 3090333 w 4758267"/>
              <a:gd name="connsiteY1" fmla="*/ 880533 h 1481667"/>
              <a:gd name="connsiteX2" fmla="*/ 4182533 w 4758267"/>
              <a:gd name="connsiteY2" fmla="*/ 194733 h 1481667"/>
              <a:gd name="connsiteX3" fmla="*/ 3953933 w 4758267"/>
              <a:gd name="connsiteY3" fmla="*/ 16933 h 1481667"/>
              <a:gd name="connsiteX4" fmla="*/ 4622800 w 4758267"/>
              <a:gd name="connsiteY4" fmla="*/ 0 h 1481667"/>
              <a:gd name="connsiteX5" fmla="*/ 4758267 w 4758267"/>
              <a:gd name="connsiteY5" fmla="*/ 651933 h 1481667"/>
              <a:gd name="connsiteX6" fmla="*/ 4588933 w 4758267"/>
              <a:gd name="connsiteY6" fmla="*/ 499533 h 1481667"/>
              <a:gd name="connsiteX7" fmla="*/ 3234267 w 4758267"/>
              <a:gd name="connsiteY7" fmla="*/ 1473200 h 1481667"/>
              <a:gd name="connsiteX8" fmla="*/ 8467 w 4758267"/>
              <a:gd name="connsiteY8" fmla="*/ 1481667 h 1481667"/>
              <a:gd name="connsiteX0" fmla="*/ 0 w 4758267"/>
              <a:gd name="connsiteY0" fmla="*/ 880533 h 1481667"/>
              <a:gd name="connsiteX1" fmla="*/ 3090333 w 4758267"/>
              <a:gd name="connsiteY1" fmla="*/ 880533 h 1481667"/>
              <a:gd name="connsiteX2" fmla="*/ 4182533 w 4758267"/>
              <a:gd name="connsiteY2" fmla="*/ 194733 h 1481667"/>
              <a:gd name="connsiteX3" fmla="*/ 3953933 w 4758267"/>
              <a:gd name="connsiteY3" fmla="*/ 16933 h 1481667"/>
              <a:gd name="connsiteX4" fmla="*/ 4622800 w 4758267"/>
              <a:gd name="connsiteY4" fmla="*/ 0 h 1481667"/>
              <a:gd name="connsiteX5" fmla="*/ 4758267 w 4758267"/>
              <a:gd name="connsiteY5" fmla="*/ 651933 h 1481667"/>
              <a:gd name="connsiteX6" fmla="*/ 4588933 w 4758267"/>
              <a:gd name="connsiteY6" fmla="*/ 499533 h 1481667"/>
              <a:gd name="connsiteX7" fmla="*/ 3234267 w 4758267"/>
              <a:gd name="connsiteY7" fmla="*/ 1473200 h 1481667"/>
              <a:gd name="connsiteX8" fmla="*/ 8467 w 4758267"/>
              <a:gd name="connsiteY8" fmla="*/ 1481667 h 1481667"/>
              <a:gd name="connsiteX0" fmla="*/ 0 w 4758267"/>
              <a:gd name="connsiteY0" fmla="*/ 880533 h 1636889"/>
              <a:gd name="connsiteX1" fmla="*/ 3090333 w 4758267"/>
              <a:gd name="connsiteY1" fmla="*/ 880533 h 1636889"/>
              <a:gd name="connsiteX2" fmla="*/ 4182533 w 4758267"/>
              <a:gd name="connsiteY2" fmla="*/ 194733 h 1636889"/>
              <a:gd name="connsiteX3" fmla="*/ 3953933 w 4758267"/>
              <a:gd name="connsiteY3" fmla="*/ 16933 h 1636889"/>
              <a:gd name="connsiteX4" fmla="*/ 4622800 w 4758267"/>
              <a:gd name="connsiteY4" fmla="*/ 0 h 1636889"/>
              <a:gd name="connsiteX5" fmla="*/ 4758267 w 4758267"/>
              <a:gd name="connsiteY5" fmla="*/ 651933 h 1636889"/>
              <a:gd name="connsiteX6" fmla="*/ 4588933 w 4758267"/>
              <a:gd name="connsiteY6" fmla="*/ 499533 h 1636889"/>
              <a:gd name="connsiteX7" fmla="*/ 3234267 w 4758267"/>
              <a:gd name="connsiteY7" fmla="*/ 1473200 h 1636889"/>
              <a:gd name="connsiteX8" fmla="*/ 8467 w 4758267"/>
              <a:gd name="connsiteY8" fmla="*/ 1481667 h 1636889"/>
              <a:gd name="connsiteX0" fmla="*/ 0 w 4758267"/>
              <a:gd name="connsiteY0" fmla="*/ 880533 h 1636889"/>
              <a:gd name="connsiteX1" fmla="*/ 3090333 w 4758267"/>
              <a:gd name="connsiteY1" fmla="*/ 880533 h 1636889"/>
              <a:gd name="connsiteX2" fmla="*/ 4182533 w 4758267"/>
              <a:gd name="connsiteY2" fmla="*/ 194733 h 1636889"/>
              <a:gd name="connsiteX3" fmla="*/ 3953933 w 4758267"/>
              <a:gd name="connsiteY3" fmla="*/ 16933 h 1636889"/>
              <a:gd name="connsiteX4" fmla="*/ 4622800 w 4758267"/>
              <a:gd name="connsiteY4" fmla="*/ 0 h 1636889"/>
              <a:gd name="connsiteX5" fmla="*/ 4758267 w 4758267"/>
              <a:gd name="connsiteY5" fmla="*/ 651933 h 1636889"/>
              <a:gd name="connsiteX6" fmla="*/ 4588933 w 4758267"/>
              <a:gd name="connsiteY6" fmla="*/ 499533 h 1636889"/>
              <a:gd name="connsiteX7" fmla="*/ 3234267 w 4758267"/>
              <a:gd name="connsiteY7" fmla="*/ 1473200 h 1636889"/>
              <a:gd name="connsiteX8" fmla="*/ 8467 w 4758267"/>
              <a:gd name="connsiteY8" fmla="*/ 1481667 h 1636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58267" h="1636889">
                <a:moveTo>
                  <a:pt x="0" y="880533"/>
                </a:moveTo>
                <a:cubicBezTo>
                  <a:pt x="1030111" y="880533"/>
                  <a:pt x="2367844" y="969505"/>
                  <a:pt x="3090333" y="880533"/>
                </a:cubicBezTo>
                <a:cubicBezTo>
                  <a:pt x="3787422" y="766233"/>
                  <a:pt x="4038600" y="338666"/>
                  <a:pt x="4182533" y="194733"/>
                </a:cubicBezTo>
                <a:lnTo>
                  <a:pt x="3953933" y="16933"/>
                </a:lnTo>
                <a:lnTo>
                  <a:pt x="4622800" y="0"/>
                </a:lnTo>
                <a:lnTo>
                  <a:pt x="4758267" y="651933"/>
                </a:lnTo>
                <a:lnTo>
                  <a:pt x="4588933" y="499533"/>
                </a:lnTo>
                <a:cubicBezTo>
                  <a:pt x="4334933" y="636411"/>
                  <a:pt x="4001912" y="1328507"/>
                  <a:pt x="3234267" y="1473200"/>
                </a:cubicBezTo>
                <a:cubicBezTo>
                  <a:pt x="2470856" y="1636889"/>
                  <a:pt x="1083734" y="1478845"/>
                  <a:pt x="8467" y="1481667"/>
                </a:cubicBezTo>
              </a:path>
            </a:pathLst>
          </a:custGeom>
          <a:solidFill>
            <a:schemeClr val="tx2"/>
          </a:solidFill>
          <a:ln w="9525" cap="flat" cmpd="sng" algn="ctr">
            <a:solidFill>
              <a:srgbClr val="1F497D"/>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sz="1600" dirty="0">
              <a:latin typeface="Garamond"/>
            </a:endParaRPr>
          </a:p>
        </p:txBody>
      </p:sp>
      <p:sp>
        <p:nvSpPr>
          <p:cNvPr id="35" name="Freeform 34"/>
          <p:cNvSpPr/>
          <p:nvPr/>
        </p:nvSpPr>
        <p:spPr>
          <a:xfrm flipV="1">
            <a:off x="1922464" y="3935628"/>
            <a:ext cx="4758267" cy="2188768"/>
          </a:xfrm>
          <a:custGeom>
            <a:avLst/>
            <a:gdLst>
              <a:gd name="connsiteX0" fmla="*/ 0 w 4758267"/>
              <a:gd name="connsiteY0" fmla="*/ 880533 h 1481667"/>
              <a:gd name="connsiteX1" fmla="*/ 3090333 w 4758267"/>
              <a:gd name="connsiteY1" fmla="*/ 880533 h 1481667"/>
              <a:gd name="connsiteX2" fmla="*/ 4182533 w 4758267"/>
              <a:gd name="connsiteY2" fmla="*/ 194733 h 1481667"/>
              <a:gd name="connsiteX3" fmla="*/ 3953933 w 4758267"/>
              <a:gd name="connsiteY3" fmla="*/ 16933 h 1481667"/>
              <a:gd name="connsiteX4" fmla="*/ 4622800 w 4758267"/>
              <a:gd name="connsiteY4" fmla="*/ 0 h 1481667"/>
              <a:gd name="connsiteX5" fmla="*/ 4758267 w 4758267"/>
              <a:gd name="connsiteY5" fmla="*/ 651933 h 1481667"/>
              <a:gd name="connsiteX6" fmla="*/ 4588933 w 4758267"/>
              <a:gd name="connsiteY6" fmla="*/ 499533 h 1481667"/>
              <a:gd name="connsiteX7" fmla="*/ 3234267 w 4758267"/>
              <a:gd name="connsiteY7" fmla="*/ 1473200 h 1481667"/>
              <a:gd name="connsiteX8" fmla="*/ 8467 w 4758267"/>
              <a:gd name="connsiteY8" fmla="*/ 1481667 h 1481667"/>
              <a:gd name="connsiteX0" fmla="*/ 0 w 4758267"/>
              <a:gd name="connsiteY0" fmla="*/ 880533 h 1481667"/>
              <a:gd name="connsiteX1" fmla="*/ 3090333 w 4758267"/>
              <a:gd name="connsiteY1" fmla="*/ 880533 h 1481667"/>
              <a:gd name="connsiteX2" fmla="*/ 4182533 w 4758267"/>
              <a:gd name="connsiteY2" fmla="*/ 194733 h 1481667"/>
              <a:gd name="connsiteX3" fmla="*/ 3953933 w 4758267"/>
              <a:gd name="connsiteY3" fmla="*/ 16933 h 1481667"/>
              <a:gd name="connsiteX4" fmla="*/ 4622800 w 4758267"/>
              <a:gd name="connsiteY4" fmla="*/ 0 h 1481667"/>
              <a:gd name="connsiteX5" fmla="*/ 4758267 w 4758267"/>
              <a:gd name="connsiteY5" fmla="*/ 651933 h 1481667"/>
              <a:gd name="connsiteX6" fmla="*/ 4588933 w 4758267"/>
              <a:gd name="connsiteY6" fmla="*/ 499533 h 1481667"/>
              <a:gd name="connsiteX7" fmla="*/ 3234267 w 4758267"/>
              <a:gd name="connsiteY7" fmla="*/ 1473200 h 1481667"/>
              <a:gd name="connsiteX8" fmla="*/ 8467 w 4758267"/>
              <a:gd name="connsiteY8" fmla="*/ 1481667 h 1481667"/>
              <a:gd name="connsiteX0" fmla="*/ 0 w 4758267"/>
              <a:gd name="connsiteY0" fmla="*/ 880533 h 1481667"/>
              <a:gd name="connsiteX1" fmla="*/ 3090333 w 4758267"/>
              <a:gd name="connsiteY1" fmla="*/ 880533 h 1481667"/>
              <a:gd name="connsiteX2" fmla="*/ 4182533 w 4758267"/>
              <a:gd name="connsiteY2" fmla="*/ 194733 h 1481667"/>
              <a:gd name="connsiteX3" fmla="*/ 3953933 w 4758267"/>
              <a:gd name="connsiteY3" fmla="*/ 16933 h 1481667"/>
              <a:gd name="connsiteX4" fmla="*/ 4622800 w 4758267"/>
              <a:gd name="connsiteY4" fmla="*/ 0 h 1481667"/>
              <a:gd name="connsiteX5" fmla="*/ 4758267 w 4758267"/>
              <a:gd name="connsiteY5" fmla="*/ 651933 h 1481667"/>
              <a:gd name="connsiteX6" fmla="*/ 4588933 w 4758267"/>
              <a:gd name="connsiteY6" fmla="*/ 499533 h 1481667"/>
              <a:gd name="connsiteX7" fmla="*/ 3234267 w 4758267"/>
              <a:gd name="connsiteY7" fmla="*/ 1473200 h 1481667"/>
              <a:gd name="connsiteX8" fmla="*/ 8467 w 4758267"/>
              <a:gd name="connsiteY8" fmla="*/ 1481667 h 1481667"/>
              <a:gd name="connsiteX0" fmla="*/ 0 w 4758267"/>
              <a:gd name="connsiteY0" fmla="*/ 880533 h 1481667"/>
              <a:gd name="connsiteX1" fmla="*/ 3090333 w 4758267"/>
              <a:gd name="connsiteY1" fmla="*/ 880533 h 1481667"/>
              <a:gd name="connsiteX2" fmla="*/ 4182533 w 4758267"/>
              <a:gd name="connsiteY2" fmla="*/ 194733 h 1481667"/>
              <a:gd name="connsiteX3" fmla="*/ 3953933 w 4758267"/>
              <a:gd name="connsiteY3" fmla="*/ 16933 h 1481667"/>
              <a:gd name="connsiteX4" fmla="*/ 4622800 w 4758267"/>
              <a:gd name="connsiteY4" fmla="*/ 0 h 1481667"/>
              <a:gd name="connsiteX5" fmla="*/ 4758267 w 4758267"/>
              <a:gd name="connsiteY5" fmla="*/ 651933 h 1481667"/>
              <a:gd name="connsiteX6" fmla="*/ 4588933 w 4758267"/>
              <a:gd name="connsiteY6" fmla="*/ 499533 h 1481667"/>
              <a:gd name="connsiteX7" fmla="*/ 3234267 w 4758267"/>
              <a:gd name="connsiteY7" fmla="*/ 1473200 h 1481667"/>
              <a:gd name="connsiteX8" fmla="*/ 8467 w 4758267"/>
              <a:gd name="connsiteY8" fmla="*/ 1481667 h 1481667"/>
              <a:gd name="connsiteX0" fmla="*/ 0 w 4758267"/>
              <a:gd name="connsiteY0" fmla="*/ 880533 h 1481667"/>
              <a:gd name="connsiteX1" fmla="*/ 3090333 w 4758267"/>
              <a:gd name="connsiteY1" fmla="*/ 880533 h 1481667"/>
              <a:gd name="connsiteX2" fmla="*/ 4182533 w 4758267"/>
              <a:gd name="connsiteY2" fmla="*/ 194733 h 1481667"/>
              <a:gd name="connsiteX3" fmla="*/ 3953933 w 4758267"/>
              <a:gd name="connsiteY3" fmla="*/ 16933 h 1481667"/>
              <a:gd name="connsiteX4" fmla="*/ 4622800 w 4758267"/>
              <a:gd name="connsiteY4" fmla="*/ 0 h 1481667"/>
              <a:gd name="connsiteX5" fmla="*/ 4758267 w 4758267"/>
              <a:gd name="connsiteY5" fmla="*/ 651933 h 1481667"/>
              <a:gd name="connsiteX6" fmla="*/ 4588933 w 4758267"/>
              <a:gd name="connsiteY6" fmla="*/ 499533 h 1481667"/>
              <a:gd name="connsiteX7" fmla="*/ 3234267 w 4758267"/>
              <a:gd name="connsiteY7" fmla="*/ 1473200 h 1481667"/>
              <a:gd name="connsiteX8" fmla="*/ 8467 w 4758267"/>
              <a:gd name="connsiteY8" fmla="*/ 1481667 h 1481667"/>
              <a:gd name="connsiteX0" fmla="*/ 0 w 4758267"/>
              <a:gd name="connsiteY0" fmla="*/ 880533 h 1636889"/>
              <a:gd name="connsiteX1" fmla="*/ 3090333 w 4758267"/>
              <a:gd name="connsiteY1" fmla="*/ 880533 h 1636889"/>
              <a:gd name="connsiteX2" fmla="*/ 4182533 w 4758267"/>
              <a:gd name="connsiteY2" fmla="*/ 194733 h 1636889"/>
              <a:gd name="connsiteX3" fmla="*/ 3953933 w 4758267"/>
              <a:gd name="connsiteY3" fmla="*/ 16933 h 1636889"/>
              <a:gd name="connsiteX4" fmla="*/ 4622800 w 4758267"/>
              <a:gd name="connsiteY4" fmla="*/ 0 h 1636889"/>
              <a:gd name="connsiteX5" fmla="*/ 4758267 w 4758267"/>
              <a:gd name="connsiteY5" fmla="*/ 651933 h 1636889"/>
              <a:gd name="connsiteX6" fmla="*/ 4588933 w 4758267"/>
              <a:gd name="connsiteY6" fmla="*/ 499533 h 1636889"/>
              <a:gd name="connsiteX7" fmla="*/ 3234267 w 4758267"/>
              <a:gd name="connsiteY7" fmla="*/ 1473200 h 1636889"/>
              <a:gd name="connsiteX8" fmla="*/ 8467 w 4758267"/>
              <a:gd name="connsiteY8" fmla="*/ 1481667 h 1636889"/>
              <a:gd name="connsiteX0" fmla="*/ 0 w 4758267"/>
              <a:gd name="connsiteY0" fmla="*/ 880533 h 1636889"/>
              <a:gd name="connsiteX1" fmla="*/ 3090333 w 4758267"/>
              <a:gd name="connsiteY1" fmla="*/ 880533 h 1636889"/>
              <a:gd name="connsiteX2" fmla="*/ 4182533 w 4758267"/>
              <a:gd name="connsiteY2" fmla="*/ 194733 h 1636889"/>
              <a:gd name="connsiteX3" fmla="*/ 3953933 w 4758267"/>
              <a:gd name="connsiteY3" fmla="*/ 16933 h 1636889"/>
              <a:gd name="connsiteX4" fmla="*/ 4622800 w 4758267"/>
              <a:gd name="connsiteY4" fmla="*/ 0 h 1636889"/>
              <a:gd name="connsiteX5" fmla="*/ 4758267 w 4758267"/>
              <a:gd name="connsiteY5" fmla="*/ 651933 h 1636889"/>
              <a:gd name="connsiteX6" fmla="*/ 4588933 w 4758267"/>
              <a:gd name="connsiteY6" fmla="*/ 499533 h 1636889"/>
              <a:gd name="connsiteX7" fmla="*/ 3234267 w 4758267"/>
              <a:gd name="connsiteY7" fmla="*/ 1473200 h 1636889"/>
              <a:gd name="connsiteX8" fmla="*/ 8467 w 4758267"/>
              <a:gd name="connsiteY8" fmla="*/ 1481667 h 1636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58267" h="1636889">
                <a:moveTo>
                  <a:pt x="0" y="880533"/>
                </a:moveTo>
                <a:cubicBezTo>
                  <a:pt x="1030111" y="880533"/>
                  <a:pt x="2367844" y="969505"/>
                  <a:pt x="3090333" y="880533"/>
                </a:cubicBezTo>
                <a:cubicBezTo>
                  <a:pt x="3787422" y="766233"/>
                  <a:pt x="4038600" y="338666"/>
                  <a:pt x="4182533" y="194733"/>
                </a:cubicBezTo>
                <a:lnTo>
                  <a:pt x="3953933" y="16933"/>
                </a:lnTo>
                <a:lnTo>
                  <a:pt x="4622800" y="0"/>
                </a:lnTo>
                <a:lnTo>
                  <a:pt x="4758267" y="651933"/>
                </a:lnTo>
                <a:lnTo>
                  <a:pt x="4588933" y="499533"/>
                </a:lnTo>
                <a:cubicBezTo>
                  <a:pt x="4334933" y="636411"/>
                  <a:pt x="4001912" y="1328507"/>
                  <a:pt x="3234267" y="1473200"/>
                </a:cubicBezTo>
                <a:cubicBezTo>
                  <a:pt x="2470856" y="1636889"/>
                  <a:pt x="1083734" y="1478845"/>
                  <a:pt x="8467" y="1481667"/>
                </a:cubicBezTo>
              </a:path>
            </a:pathLst>
          </a:custGeom>
          <a:solidFill>
            <a:schemeClr val="tx2"/>
          </a:solidFill>
          <a:ln w="9525" cap="flat" cmpd="sng" algn="ctr">
            <a:solidFill>
              <a:srgbClr val="1F497D"/>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sz="1600" dirty="0">
              <a:solidFill>
                <a:srgbClr val="FFFFFF"/>
              </a:solidFill>
              <a:latin typeface="Garamond"/>
            </a:endParaRPr>
          </a:p>
        </p:txBody>
      </p:sp>
      <p:sp>
        <p:nvSpPr>
          <p:cNvPr id="33" name="Freeform 4"/>
          <p:cNvSpPr>
            <a:spLocks/>
          </p:cNvSpPr>
          <p:nvPr/>
        </p:nvSpPr>
        <p:spPr bwMode="auto">
          <a:xfrm>
            <a:off x="1925638" y="3591140"/>
            <a:ext cx="2752197" cy="914400"/>
          </a:xfrm>
          <a:custGeom>
            <a:avLst/>
            <a:gdLst>
              <a:gd name="T0" fmla="*/ 0 w 1978"/>
              <a:gd name="T1" fmla="*/ 425433 h 2696"/>
              <a:gd name="T2" fmla="*/ 2533059 w 1978"/>
              <a:gd name="T3" fmla="*/ 425433 h 2696"/>
              <a:gd name="T4" fmla="*/ 2533059 w 1978"/>
              <a:gd name="T5" fmla="*/ 0 h 2696"/>
              <a:gd name="T6" fmla="*/ 3201955 w 1978"/>
              <a:gd name="T7" fmla="*/ 1702985 h 2696"/>
              <a:gd name="T8" fmla="*/ 2533059 w 1978"/>
              <a:gd name="T9" fmla="*/ 3372186 h 2696"/>
              <a:gd name="T10" fmla="*/ 2533059 w 1978"/>
              <a:gd name="T11" fmla="*/ 2993049 h 2696"/>
              <a:gd name="T12" fmla="*/ 0 w 1978"/>
              <a:gd name="T13" fmla="*/ 2993049 h 269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78" h="2696">
                <a:moveTo>
                  <a:pt x="0" y="340"/>
                </a:moveTo>
                <a:lnTo>
                  <a:pt x="1564" y="340"/>
                </a:lnTo>
                <a:lnTo>
                  <a:pt x="1564" y="0"/>
                </a:lnTo>
                <a:lnTo>
                  <a:pt x="1977" y="1361"/>
                </a:lnTo>
                <a:lnTo>
                  <a:pt x="1564" y="2695"/>
                </a:lnTo>
                <a:lnTo>
                  <a:pt x="1564" y="2392"/>
                </a:lnTo>
                <a:lnTo>
                  <a:pt x="0" y="2392"/>
                </a:lnTo>
              </a:path>
            </a:pathLst>
          </a:custGeom>
          <a:solidFill>
            <a:schemeClr val="bg1"/>
          </a:solidFill>
          <a:ln w="9525">
            <a:solidFill>
              <a:schemeClr val="bg1"/>
            </a:solidFill>
            <a:miter lim="800000"/>
            <a:headEnd/>
            <a:tailEnd/>
          </a:ln>
          <a:effectLst/>
        </p:spPr>
        <p:txBody>
          <a:bodyPr lIns="80147" tIns="40074" rIns="80147" bIns="40074">
            <a:prstTxWarp prst="textNoShape">
              <a:avLst/>
            </a:prstTxWarp>
          </a:bodyPr>
          <a:lstStyle/>
          <a:p>
            <a:pPr indent="-269827"/>
            <a:r>
              <a:rPr lang="en-GB" sz="1600" dirty="0">
                <a:solidFill>
                  <a:srgbClr val="FFFFFF"/>
                </a:solidFill>
                <a:latin typeface="Garamond"/>
              </a:rPr>
              <a:t> </a:t>
            </a:r>
          </a:p>
        </p:txBody>
      </p:sp>
      <p:cxnSp>
        <p:nvCxnSpPr>
          <p:cNvPr id="38" name="Straight Connector 37"/>
          <p:cNvCxnSpPr/>
          <p:nvPr/>
        </p:nvCxnSpPr>
        <p:spPr>
          <a:xfrm>
            <a:off x="4603751" y="4051515"/>
            <a:ext cx="88900" cy="1588"/>
          </a:xfrm>
          <a:prstGeom prst="line">
            <a:avLst/>
          </a:prstGeom>
          <a:ln w="28575" cap="flat" cmpd="sng" algn="ctr">
            <a:solidFill>
              <a:srgbClr val="FAEEDF"/>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3" name="Text Box 10"/>
          <p:cNvSpPr txBox="1">
            <a:spLocks noChangeArrowheads="1"/>
          </p:cNvSpPr>
          <p:nvPr>
            <p:custDataLst>
              <p:tags r:id="rId3"/>
            </p:custDataLst>
          </p:nvPr>
        </p:nvSpPr>
        <p:spPr bwMode="auto">
          <a:xfrm>
            <a:off x="1966914" y="3256771"/>
            <a:ext cx="2606675" cy="346765"/>
          </a:xfrm>
          <a:prstGeom prst="rect">
            <a:avLst/>
          </a:prstGeom>
          <a:noFill/>
          <a:ln w="9525">
            <a:noFill/>
            <a:miter lim="800000"/>
            <a:headEnd/>
            <a:tailEnd/>
          </a:ln>
          <a:effectLst/>
        </p:spPr>
        <p:txBody>
          <a:bodyPr wrap="square" lIns="91424" tIns="45712" rIns="91424" bIns="45712">
            <a:prstTxWarp prst="textNoShape">
              <a:avLst/>
            </a:prstTxWarp>
            <a:spAutoFit/>
          </a:bodyPr>
          <a:lstStyle/>
          <a:p>
            <a:r>
              <a:rPr lang="nb-NO" sz="1600" dirty="0">
                <a:solidFill>
                  <a:srgbClr val="FFFFFF"/>
                </a:solidFill>
                <a:latin typeface="Garamond"/>
              </a:rPr>
              <a:t>Text</a:t>
            </a:r>
            <a:endParaRPr lang="en-US" sz="1600" dirty="0">
              <a:solidFill>
                <a:srgbClr val="FFFFFF"/>
              </a:solidFill>
              <a:latin typeface="Garamond"/>
            </a:endParaRPr>
          </a:p>
        </p:txBody>
      </p:sp>
      <p:sp>
        <p:nvSpPr>
          <p:cNvPr id="14" name="Text Box 11"/>
          <p:cNvSpPr txBox="1">
            <a:spLocks noChangeArrowheads="1"/>
          </p:cNvSpPr>
          <p:nvPr>
            <p:custDataLst>
              <p:tags r:id="rId4"/>
            </p:custDataLst>
          </p:nvPr>
        </p:nvSpPr>
        <p:spPr bwMode="auto">
          <a:xfrm>
            <a:off x="1966914" y="4436820"/>
            <a:ext cx="2687638" cy="346765"/>
          </a:xfrm>
          <a:prstGeom prst="rect">
            <a:avLst/>
          </a:prstGeom>
          <a:noFill/>
          <a:ln w="9525">
            <a:noFill/>
            <a:miter lim="800000"/>
            <a:headEnd/>
            <a:tailEnd/>
          </a:ln>
          <a:effectLst/>
        </p:spPr>
        <p:txBody>
          <a:bodyPr wrap="square" lIns="91424" tIns="45712" rIns="91424" bIns="45712">
            <a:prstTxWarp prst="textNoShape">
              <a:avLst/>
            </a:prstTxWarp>
            <a:spAutoFit/>
          </a:bodyPr>
          <a:lstStyle/>
          <a:p>
            <a:r>
              <a:rPr lang="nb-NO" sz="1600" dirty="0">
                <a:solidFill>
                  <a:srgbClr val="FFFFFF"/>
                </a:solidFill>
                <a:latin typeface="Garamond"/>
              </a:rPr>
              <a:t>Text</a:t>
            </a:r>
            <a:endParaRPr lang="en-US" sz="1600" dirty="0">
              <a:solidFill>
                <a:srgbClr val="FFFFFF"/>
              </a:solidFill>
              <a:latin typeface="Garamond"/>
            </a:endParaRPr>
          </a:p>
        </p:txBody>
      </p:sp>
      <p:sp>
        <p:nvSpPr>
          <p:cNvPr id="16" name="Title 3"/>
          <p:cNvSpPr txBox="1">
            <a:spLocks/>
          </p:cNvSpPr>
          <p:nvPr>
            <p:custDataLst>
              <p:tags r:id="rId5"/>
            </p:custDataLst>
          </p:nvPr>
        </p:nvSpPr>
        <p:spPr>
          <a:xfrm>
            <a:off x="754204" y="5545148"/>
            <a:ext cx="6891495" cy="822961"/>
          </a:xfrm>
          <a:prstGeom prst="rect">
            <a:avLst/>
          </a:prstGeom>
        </p:spPr>
        <p:txBody>
          <a:bodyPr vert="horz" lIns="80133" tIns="40067" rIns="80133" bIns="40067" rtlCol="0" anchor="b" anchorCtr="0">
            <a:normAutofit/>
          </a:bodyPr>
          <a:lstStyle>
            <a:lvl1pPr algn="l" defTabSz="914239" rtl="0" eaLnBrk="1" latinLnBrk="0" hangingPunct="1">
              <a:spcBef>
                <a:spcPct val="0"/>
              </a:spcBef>
              <a:buNone/>
              <a:defRPr sz="2800" kern="1200">
                <a:solidFill>
                  <a:schemeClr val="accent1"/>
                </a:solidFill>
                <a:latin typeface="Garamond" pitchFamily="18" charset="0"/>
                <a:ea typeface="+mj-ea"/>
                <a:cs typeface="+mj-cs"/>
              </a:defRPr>
            </a:lvl1pPr>
          </a:lstStyle>
          <a:p>
            <a:r>
              <a:rPr lang="en-GB" sz="1200" dirty="0">
                <a:solidFill>
                  <a:schemeClr val="tx2"/>
                </a:solidFill>
              </a:rPr>
              <a:t>Footnotes and assumptions: list</a:t>
            </a:r>
          </a:p>
          <a:p>
            <a:r>
              <a:rPr lang="en-GB" sz="1200" dirty="0">
                <a:solidFill>
                  <a:schemeClr val="tx2"/>
                </a:solidFill>
              </a:rPr>
              <a:t>Source: List sources</a:t>
            </a:r>
          </a:p>
        </p:txBody>
      </p:sp>
      <p:sp>
        <p:nvSpPr>
          <p:cNvPr id="17" name="Rectangle 4"/>
          <p:cNvSpPr>
            <a:spLocks noGrp="1" noChangeArrowheads="1"/>
          </p:cNvSpPr>
          <p:nvPr>
            <p:ph type="title"/>
            <p:custDataLst>
              <p:tags r:id="rId6"/>
            </p:custDataLst>
          </p:nvPr>
        </p:nvSpPr>
        <p:spPr/>
        <p:txBody>
          <a:bodyPr/>
          <a:lstStyle/>
          <a:p>
            <a:r>
              <a:rPr lang="en-GB" dirty="0" smtClean="0"/>
              <a:t>Message title – </a:t>
            </a:r>
            <a:r>
              <a:rPr lang="en-US" dirty="0" smtClean="0"/>
              <a:t>why are you showing it? flow</a:t>
            </a:r>
            <a:endParaRPr lang="en-GB" dirty="0"/>
          </a:p>
        </p:txBody>
      </p:sp>
      <p:sp>
        <p:nvSpPr>
          <p:cNvPr id="5" name="Footer Placeholder 4"/>
          <p:cNvSpPr>
            <a:spLocks noGrp="1"/>
          </p:cNvSpPr>
          <p:nvPr>
            <p:ph type="ftr" sz="quarter" idx="3"/>
          </p:nvPr>
        </p:nvSpPr>
        <p:spPr/>
        <p:txBody>
          <a:bodyPr/>
          <a:lstStyle/>
          <a:p>
            <a:r>
              <a:rPr lang="en-US" dirty="0" smtClean="0"/>
              <a:t>neil young |neil@ogcommunicationdesign.com |www.ogcommunicationdesign.com</a:t>
            </a:r>
            <a:endParaRPr lang="en-US" dirty="0"/>
          </a:p>
        </p:txBody>
      </p:sp>
      <p:sp>
        <p:nvSpPr>
          <p:cNvPr id="21" name="Slide Number Placeholder 20"/>
          <p:cNvSpPr>
            <a:spLocks noGrp="1"/>
          </p:cNvSpPr>
          <p:nvPr>
            <p:ph type="sldNum" sz="quarter" idx="4"/>
            <p:custDataLst>
              <p:tags r:id="rId7"/>
            </p:custDataLst>
          </p:nvPr>
        </p:nvSpPr>
        <p:spPr/>
        <p:txBody>
          <a:bodyPr/>
          <a:lstStyle/>
          <a:p>
            <a:fld id="{27F67E6B-0F24-40AE-9272-914C56B63673}" type="slidenum">
              <a:rPr lang="en-AU" smtClean="0"/>
              <a:pPr/>
              <a:t>10</a:t>
            </a:fld>
            <a:r>
              <a:rPr lang="en-AU" dirty="0" smtClean="0"/>
              <a:t> </a:t>
            </a:r>
            <a:endParaRPr lang="en-AU" dirty="0"/>
          </a:p>
        </p:txBody>
      </p:sp>
      <p:sp>
        <p:nvSpPr>
          <p:cNvPr id="15" name="TextBox 14"/>
          <p:cNvSpPr txBox="1"/>
          <p:nvPr>
            <p:custDataLst>
              <p:tags r:id="rId8"/>
            </p:custDataLst>
          </p:nvPr>
        </p:nvSpPr>
        <p:spPr>
          <a:xfrm>
            <a:off x="755338" y="1481982"/>
            <a:ext cx="7606753" cy="362896"/>
          </a:xfrm>
          <a:prstGeom prst="rect">
            <a:avLst/>
          </a:prstGeom>
          <a:noFill/>
        </p:spPr>
        <p:txBody>
          <a:bodyPr wrap="square" lIns="80147" tIns="40074" rIns="80147" bIns="40074" rtlCol="0">
            <a:spAutoFit/>
          </a:bodyPr>
          <a:lstStyle/>
          <a:p>
            <a:r>
              <a:rPr lang="en-ZW" dirty="0">
                <a:latin typeface="Garamond" pitchFamily="18" charset="0"/>
              </a:rPr>
              <a:t>Title – what are you showing on this page?</a:t>
            </a:r>
          </a:p>
        </p:txBody>
      </p:sp>
    </p:spTree>
    <p:extLst>
      <p:ext uri="{BB962C8B-B14F-4D97-AF65-F5344CB8AC3E}">
        <p14:creationId xmlns:p14="http://schemas.microsoft.com/office/powerpoint/2010/main" val="127169332"/>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3448572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05" name="think-cell Slide" r:id="rId12" imgW="6350000" imgH="6350000" progId="TCLayout.ActiveDocument.1">
                  <p:embed/>
                </p:oleObj>
              </mc:Choice>
              <mc:Fallback>
                <p:oleObj name="think-cell Slide" r:id="rId12" imgW="6350000" imgH="6350000" progId="TCLayout.ActiveDocument.1">
                  <p:embed/>
                  <p:pic>
                    <p:nvPicPr>
                      <p:cNvPr id="0" name="Picture 10"/>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Freeform 4"/>
          <p:cNvSpPr>
            <a:spLocks/>
          </p:cNvSpPr>
          <p:nvPr>
            <p:custDataLst>
              <p:tags r:id="rId3"/>
            </p:custDataLst>
          </p:nvPr>
        </p:nvSpPr>
        <p:spPr bwMode="auto">
          <a:xfrm>
            <a:off x="919381" y="2332144"/>
            <a:ext cx="7292975" cy="3170238"/>
          </a:xfrm>
          <a:custGeom>
            <a:avLst/>
            <a:gdLst>
              <a:gd name="T0" fmla="*/ 0 w 3447"/>
              <a:gd name="T1" fmla="*/ 869225 h 1499"/>
              <a:gd name="T2" fmla="*/ 0 w 3447"/>
              <a:gd name="T3" fmla="*/ 2876267 h 1499"/>
              <a:gd name="T4" fmla="*/ 6615936 w 3447"/>
              <a:gd name="T5" fmla="*/ 2874152 h 1499"/>
              <a:gd name="T6" fmla="*/ 6611705 w 3447"/>
              <a:gd name="T7" fmla="*/ 3168123 h 1499"/>
              <a:gd name="T8" fmla="*/ 7290859 w 3447"/>
              <a:gd name="T9" fmla="*/ 2370805 h 1499"/>
              <a:gd name="T10" fmla="*/ 6609589 w 3447"/>
              <a:gd name="T11" fmla="*/ 1535419 h 1499"/>
              <a:gd name="T12" fmla="*/ 6609589 w 3447"/>
              <a:gd name="T13" fmla="*/ 1842080 h 1499"/>
              <a:gd name="T14" fmla="*/ 5634230 w 3447"/>
              <a:gd name="T15" fmla="*/ 1844194 h 1499"/>
              <a:gd name="T16" fmla="*/ 4658872 w 3447"/>
              <a:gd name="T17" fmla="*/ 1844194 h 1499"/>
              <a:gd name="T18" fmla="*/ 3683513 w 3447"/>
              <a:gd name="T19" fmla="*/ 1842080 h 1499"/>
              <a:gd name="T20" fmla="*/ 3977602 w 3447"/>
              <a:gd name="T21" fmla="*/ 1820931 h 1499"/>
              <a:gd name="T22" fmla="*/ 4271690 w 3447"/>
              <a:gd name="T23" fmla="*/ 1795552 h 1499"/>
              <a:gd name="T24" fmla="*/ 4563663 w 3447"/>
              <a:gd name="T25" fmla="*/ 1763828 h 1499"/>
              <a:gd name="T26" fmla="*/ 4855636 w 3447"/>
              <a:gd name="T27" fmla="*/ 1725760 h 1499"/>
              <a:gd name="T28" fmla="*/ 5145493 w 3447"/>
              <a:gd name="T29" fmla="*/ 1683462 h 1499"/>
              <a:gd name="T30" fmla="*/ 5437466 w 3447"/>
              <a:gd name="T31" fmla="*/ 1632704 h 1499"/>
              <a:gd name="T32" fmla="*/ 5725208 w 3447"/>
              <a:gd name="T33" fmla="*/ 1579832 h 1499"/>
              <a:gd name="T34" fmla="*/ 6015065 w 3447"/>
              <a:gd name="T35" fmla="*/ 1518500 h 1499"/>
              <a:gd name="T36" fmla="*/ 6046801 w 3447"/>
              <a:gd name="T37" fmla="*/ 1651738 h 1499"/>
              <a:gd name="T38" fmla="*/ 6080653 w 3447"/>
              <a:gd name="T39" fmla="*/ 1782862 h 1499"/>
              <a:gd name="T40" fmla="*/ 6425519 w 3447"/>
              <a:gd name="T41" fmla="*/ 1048991 h 1499"/>
              <a:gd name="T42" fmla="*/ 5771754 w 3447"/>
              <a:gd name="T43" fmla="*/ 549875 h 1499"/>
              <a:gd name="T44" fmla="*/ 5852152 w 3447"/>
              <a:gd name="T45" fmla="*/ 843846 h 1499"/>
              <a:gd name="T46" fmla="*/ 5496707 w 3447"/>
              <a:gd name="T47" fmla="*/ 924212 h 1499"/>
              <a:gd name="T48" fmla="*/ 5143377 w 3447"/>
              <a:gd name="T49" fmla="*/ 1000349 h 1499"/>
              <a:gd name="T50" fmla="*/ 4785816 w 3447"/>
              <a:gd name="T51" fmla="*/ 1068025 h 1499"/>
              <a:gd name="T52" fmla="*/ 4428255 w 3447"/>
              <a:gd name="T53" fmla="*/ 1135702 h 1499"/>
              <a:gd name="T54" fmla="*/ 4068579 w 3447"/>
              <a:gd name="T55" fmla="*/ 1194920 h 1499"/>
              <a:gd name="T56" fmla="*/ 3711018 w 3447"/>
              <a:gd name="T57" fmla="*/ 1249907 h 1499"/>
              <a:gd name="T58" fmla="*/ 3821037 w 3447"/>
              <a:gd name="T59" fmla="*/ 1197034 h 1499"/>
              <a:gd name="T60" fmla="*/ 3924708 w 3447"/>
              <a:gd name="T61" fmla="*/ 1137817 h 1499"/>
              <a:gd name="T62" fmla="*/ 4028380 w 3447"/>
              <a:gd name="T63" fmla="*/ 1076485 h 1499"/>
              <a:gd name="T64" fmla="*/ 4127820 w 3447"/>
              <a:gd name="T65" fmla="*/ 1006693 h 1499"/>
              <a:gd name="T66" fmla="*/ 4223028 w 3447"/>
              <a:gd name="T67" fmla="*/ 932672 h 1499"/>
              <a:gd name="T68" fmla="*/ 4307658 w 3447"/>
              <a:gd name="T69" fmla="*/ 854420 h 1499"/>
              <a:gd name="T70" fmla="*/ 4383825 w 3447"/>
              <a:gd name="T71" fmla="*/ 774054 h 1499"/>
              <a:gd name="T72" fmla="*/ 4457876 w 3447"/>
              <a:gd name="T73" fmla="*/ 685228 h 1499"/>
              <a:gd name="T74" fmla="*/ 4523464 w 3447"/>
              <a:gd name="T75" fmla="*/ 594287 h 1499"/>
              <a:gd name="T76" fmla="*/ 4586936 w 3447"/>
              <a:gd name="T77" fmla="*/ 497002 h 1499"/>
              <a:gd name="T78" fmla="*/ 4762543 w 3447"/>
              <a:gd name="T79" fmla="*/ 649275 h 1499"/>
              <a:gd name="T80" fmla="*/ 4614441 w 3447"/>
              <a:gd name="T81" fmla="*/ 0 h 1499"/>
              <a:gd name="T82" fmla="*/ 3960676 w 3447"/>
              <a:gd name="T83" fmla="*/ 12689 h 1499"/>
              <a:gd name="T84" fmla="*/ 4157440 w 3447"/>
              <a:gd name="T85" fmla="*/ 179767 h 1499"/>
              <a:gd name="T86" fmla="*/ 4102431 w 3447"/>
              <a:gd name="T87" fmla="*/ 264363 h 1499"/>
              <a:gd name="T88" fmla="*/ 4043190 w 3447"/>
              <a:gd name="T89" fmla="*/ 344729 h 1499"/>
              <a:gd name="T90" fmla="*/ 3977602 w 3447"/>
              <a:gd name="T91" fmla="*/ 418751 h 1499"/>
              <a:gd name="T92" fmla="*/ 3907782 w 3447"/>
              <a:gd name="T93" fmla="*/ 488542 h 1499"/>
              <a:gd name="T94" fmla="*/ 3831615 w 3447"/>
              <a:gd name="T95" fmla="*/ 554104 h 1499"/>
              <a:gd name="T96" fmla="*/ 3751217 w 3447"/>
              <a:gd name="T97" fmla="*/ 613322 h 1499"/>
              <a:gd name="T98" fmla="*/ 3664471 w 3447"/>
              <a:gd name="T99" fmla="*/ 666194 h 1499"/>
              <a:gd name="T100" fmla="*/ 3577726 w 3447"/>
              <a:gd name="T101" fmla="*/ 714837 h 1499"/>
              <a:gd name="T102" fmla="*/ 3486749 w 3447"/>
              <a:gd name="T103" fmla="*/ 757135 h 1499"/>
              <a:gd name="T104" fmla="*/ 3395772 w 3447"/>
              <a:gd name="T105" fmla="*/ 793088 h 1499"/>
              <a:gd name="T106" fmla="*/ 3298447 w 3447"/>
              <a:gd name="T107" fmla="*/ 820582 h 1499"/>
              <a:gd name="T108" fmla="*/ 3203239 w 3447"/>
              <a:gd name="T109" fmla="*/ 843846 h 1499"/>
              <a:gd name="T110" fmla="*/ 3105915 w 3447"/>
              <a:gd name="T111" fmla="*/ 858650 h 1499"/>
              <a:gd name="T112" fmla="*/ 3004359 w 3447"/>
              <a:gd name="T113" fmla="*/ 867110 h 1499"/>
              <a:gd name="T114" fmla="*/ 2904919 w 3447"/>
              <a:gd name="T115" fmla="*/ 869225 h 1499"/>
              <a:gd name="T116" fmla="*/ 1709522 w 3447"/>
              <a:gd name="T117" fmla="*/ 871340 h 1499"/>
              <a:gd name="T118" fmla="*/ 1709522 w 3447"/>
              <a:gd name="T119" fmla="*/ 869225 h 1499"/>
              <a:gd name="T120" fmla="*/ 0 w 3447"/>
              <a:gd name="T121" fmla="*/ 869225 h 149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447" h="1499">
                <a:moveTo>
                  <a:pt x="0" y="411"/>
                </a:moveTo>
                <a:lnTo>
                  <a:pt x="0" y="1360"/>
                </a:lnTo>
                <a:lnTo>
                  <a:pt x="3127" y="1359"/>
                </a:lnTo>
                <a:lnTo>
                  <a:pt x="3125" y="1498"/>
                </a:lnTo>
                <a:lnTo>
                  <a:pt x="3446" y="1121"/>
                </a:lnTo>
                <a:lnTo>
                  <a:pt x="3124" y="726"/>
                </a:lnTo>
                <a:lnTo>
                  <a:pt x="3124" y="871"/>
                </a:lnTo>
                <a:lnTo>
                  <a:pt x="2663" y="872"/>
                </a:lnTo>
                <a:lnTo>
                  <a:pt x="2202" y="872"/>
                </a:lnTo>
                <a:lnTo>
                  <a:pt x="1741" y="871"/>
                </a:lnTo>
                <a:lnTo>
                  <a:pt x="1880" y="861"/>
                </a:lnTo>
                <a:lnTo>
                  <a:pt x="2019" y="849"/>
                </a:lnTo>
                <a:lnTo>
                  <a:pt x="2157" y="834"/>
                </a:lnTo>
                <a:lnTo>
                  <a:pt x="2295" y="816"/>
                </a:lnTo>
                <a:lnTo>
                  <a:pt x="2432" y="796"/>
                </a:lnTo>
                <a:lnTo>
                  <a:pt x="2570" y="772"/>
                </a:lnTo>
                <a:lnTo>
                  <a:pt x="2706" y="747"/>
                </a:lnTo>
                <a:lnTo>
                  <a:pt x="2843" y="718"/>
                </a:lnTo>
                <a:lnTo>
                  <a:pt x="2858" y="781"/>
                </a:lnTo>
                <a:lnTo>
                  <a:pt x="2874" y="843"/>
                </a:lnTo>
                <a:lnTo>
                  <a:pt x="3037" y="496"/>
                </a:lnTo>
                <a:lnTo>
                  <a:pt x="2728" y="260"/>
                </a:lnTo>
                <a:lnTo>
                  <a:pt x="2766" y="399"/>
                </a:lnTo>
                <a:lnTo>
                  <a:pt x="2598" y="437"/>
                </a:lnTo>
                <a:lnTo>
                  <a:pt x="2431" y="473"/>
                </a:lnTo>
                <a:lnTo>
                  <a:pt x="2262" y="505"/>
                </a:lnTo>
                <a:lnTo>
                  <a:pt x="2093" y="537"/>
                </a:lnTo>
                <a:lnTo>
                  <a:pt x="1923" y="565"/>
                </a:lnTo>
                <a:lnTo>
                  <a:pt x="1754" y="591"/>
                </a:lnTo>
                <a:lnTo>
                  <a:pt x="1806" y="566"/>
                </a:lnTo>
                <a:lnTo>
                  <a:pt x="1855" y="538"/>
                </a:lnTo>
                <a:lnTo>
                  <a:pt x="1904" y="509"/>
                </a:lnTo>
                <a:lnTo>
                  <a:pt x="1951" y="476"/>
                </a:lnTo>
                <a:lnTo>
                  <a:pt x="1996" y="441"/>
                </a:lnTo>
                <a:lnTo>
                  <a:pt x="2036" y="404"/>
                </a:lnTo>
                <a:lnTo>
                  <a:pt x="2072" y="366"/>
                </a:lnTo>
                <a:lnTo>
                  <a:pt x="2107" y="324"/>
                </a:lnTo>
                <a:lnTo>
                  <a:pt x="2138" y="281"/>
                </a:lnTo>
                <a:lnTo>
                  <a:pt x="2168" y="235"/>
                </a:lnTo>
                <a:lnTo>
                  <a:pt x="2251" y="307"/>
                </a:lnTo>
                <a:lnTo>
                  <a:pt x="2181" y="0"/>
                </a:lnTo>
                <a:lnTo>
                  <a:pt x="1872" y="6"/>
                </a:lnTo>
                <a:lnTo>
                  <a:pt x="1965" y="85"/>
                </a:lnTo>
                <a:lnTo>
                  <a:pt x="1939" y="125"/>
                </a:lnTo>
                <a:lnTo>
                  <a:pt x="1911" y="163"/>
                </a:lnTo>
                <a:lnTo>
                  <a:pt x="1880" y="198"/>
                </a:lnTo>
                <a:lnTo>
                  <a:pt x="1847" y="231"/>
                </a:lnTo>
                <a:lnTo>
                  <a:pt x="1811" y="262"/>
                </a:lnTo>
                <a:lnTo>
                  <a:pt x="1773" y="290"/>
                </a:lnTo>
                <a:lnTo>
                  <a:pt x="1732" y="315"/>
                </a:lnTo>
                <a:lnTo>
                  <a:pt x="1691" y="338"/>
                </a:lnTo>
                <a:lnTo>
                  <a:pt x="1648" y="358"/>
                </a:lnTo>
                <a:lnTo>
                  <a:pt x="1605" y="375"/>
                </a:lnTo>
                <a:lnTo>
                  <a:pt x="1559" y="388"/>
                </a:lnTo>
                <a:lnTo>
                  <a:pt x="1514" y="399"/>
                </a:lnTo>
                <a:lnTo>
                  <a:pt x="1468" y="406"/>
                </a:lnTo>
                <a:lnTo>
                  <a:pt x="1420" y="410"/>
                </a:lnTo>
                <a:lnTo>
                  <a:pt x="1373" y="411"/>
                </a:lnTo>
                <a:lnTo>
                  <a:pt x="808" y="412"/>
                </a:lnTo>
                <a:lnTo>
                  <a:pt x="808" y="411"/>
                </a:lnTo>
                <a:lnTo>
                  <a:pt x="0" y="411"/>
                </a:lnTo>
              </a:path>
            </a:pathLst>
          </a:custGeom>
          <a:solidFill>
            <a:schemeClr val="tx2"/>
          </a:solidFill>
          <a:ln w="9525">
            <a:solidFill>
              <a:schemeClr val="bg1"/>
            </a:solidFill>
            <a:miter lim="800000"/>
            <a:headEnd/>
            <a:tailEnd/>
          </a:ln>
          <a:effectLst/>
        </p:spPr>
        <p:txBody>
          <a:bodyPr lIns="80147" tIns="40074" rIns="80147" bIns="40074">
            <a:prstTxWarp prst="textNoShape">
              <a:avLst/>
            </a:prstTxWarp>
          </a:bodyPr>
          <a:lstStyle/>
          <a:p>
            <a:pPr indent="-269827"/>
            <a:endParaRPr lang="en-GB" sz="1600" dirty="0">
              <a:solidFill>
                <a:schemeClr val="bg1"/>
              </a:solidFill>
              <a:latin typeface="Garamond"/>
            </a:endParaRPr>
          </a:p>
        </p:txBody>
      </p:sp>
      <p:sp>
        <p:nvSpPr>
          <p:cNvPr id="11" name="Rectangle 5"/>
          <p:cNvSpPr>
            <a:spLocks noChangeArrowheads="1"/>
          </p:cNvSpPr>
          <p:nvPr>
            <p:custDataLst>
              <p:tags r:id="rId4"/>
            </p:custDataLst>
          </p:nvPr>
        </p:nvSpPr>
        <p:spPr bwMode="auto">
          <a:xfrm>
            <a:off x="957480" y="3301903"/>
            <a:ext cx="2916238" cy="336959"/>
          </a:xfrm>
          <a:prstGeom prst="rect">
            <a:avLst/>
          </a:prstGeom>
          <a:noFill/>
          <a:ln w="9525">
            <a:noFill/>
            <a:miter lim="800000"/>
            <a:headEnd/>
            <a:tailEnd/>
          </a:ln>
          <a:effectLst/>
        </p:spPr>
        <p:txBody>
          <a:bodyPr lIns="78885" tIns="41020" rIns="78885" bIns="41020" anchor="ctr">
            <a:prstTxWarp prst="textNoShape">
              <a:avLst/>
            </a:prstTxWarp>
            <a:spAutoFit/>
          </a:bodyPr>
          <a:lstStyle/>
          <a:p>
            <a:pPr defTabSz="895192">
              <a:buClr>
                <a:schemeClr val="accent1"/>
              </a:buClr>
            </a:pPr>
            <a:r>
              <a:rPr lang="en-AU" sz="1600" dirty="0">
                <a:solidFill>
                  <a:srgbClr val="FFFFFF"/>
                </a:solidFill>
                <a:latin typeface="Garamond"/>
              </a:rPr>
              <a:t>Text</a:t>
            </a:r>
          </a:p>
        </p:txBody>
      </p:sp>
      <p:sp>
        <p:nvSpPr>
          <p:cNvPr id="12" name="Rectangle 6"/>
          <p:cNvSpPr>
            <a:spLocks noChangeArrowheads="1"/>
          </p:cNvSpPr>
          <p:nvPr>
            <p:custDataLst>
              <p:tags r:id="rId5"/>
            </p:custDataLst>
          </p:nvPr>
        </p:nvSpPr>
        <p:spPr bwMode="auto">
          <a:xfrm>
            <a:off x="957480" y="3978179"/>
            <a:ext cx="2916238" cy="336959"/>
          </a:xfrm>
          <a:prstGeom prst="rect">
            <a:avLst/>
          </a:prstGeom>
          <a:noFill/>
          <a:ln w="9525">
            <a:noFill/>
            <a:miter lim="800000"/>
            <a:headEnd/>
            <a:tailEnd/>
          </a:ln>
          <a:effectLst/>
        </p:spPr>
        <p:txBody>
          <a:bodyPr lIns="78885" tIns="41020" rIns="78885" bIns="41020" anchor="ctr">
            <a:prstTxWarp prst="textNoShape">
              <a:avLst/>
            </a:prstTxWarp>
            <a:spAutoFit/>
          </a:bodyPr>
          <a:lstStyle/>
          <a:p>
            <a:pPr defTabSz="895192">
              <a:buClr>
                <a:schemeClr val="accent1"/>
              </a:buClr>
            </a:pPr>
            <a:r>
              <a:rPr lang="en-AU" sz="1600" dirty="0">
                <a:solidFill>
                  <a:srgbClr val="FFFFFF"/>
                </a:solidFill>
                <a:latin typeface="Garamond"/>
              </a:rPr>
              <a:t>Text</a:t>
            </a:r>
          </a:p>
        </p:txBody>
      </p:sp>
      <p:sp>
        <p:nvSpPr>
          <p:cNvPr id="13" name="Rectangle 7"/>
          <p:cNvSpPr>
            <a:spLocks noChangeArrowheads="1"/>
          </p:cNvSpPr>
          <p:nvPr>
            <p:custDataLst>
              <p:tags r:id="rId6"/>
            </p:custDataLst>
          </p:nvPr>
        </p:nvSpPr>
        <p:spPr bwMode="auto">
          <a:xfrm>
            <a:off x="957480" y="4656040"/>
            <a:ext cx="2916238" cy="336959"/>
          </a:xfrm>
          <a:prstGeom prst="rect">
            <a:avLst/>
          </a:prstGeom>
          <a:noFill/>
          <a:ln w="9525">
            <a:noFill/>
            <a:miter lim="800000"/>
            <a:headEnd/>
            <a:tailEnd/>
          </a:ln>
          <a:effectLst/>
        </p:spPr>
        <p:txBody>
          <a:bodyPr lIns="78885" tIns="41020" rIns="78885" bIns="41020" anchor="ctr">
            <a:prstTxWarp prst="textNoShape">
              <a:avLst/>
            </a:prstTxWarp>
            <a:spAutoFit/>
          </a:bodyPr>
          <a:lstStyle/>
          <a:p>
            <a:pPr defTabSz="895192">
              <a:buClr>
                <a:schemeClr val="accent1"/>
              </a:buClr>
            </a:pPr>
            <a:r>
              <a:rPr lang="en-AU" sz="1600" dirty="0">
                <a:solidFill>
                  <a:srgbClr val="FFFFFF"/>
                </a:solidFill>
                <a:latin typeface="Garamond"/>
              </a:rPr>
              <a:t>Text</a:t>
            </a:r>
          </a:p>
        </p:txBody>
      </p:sp>
      <p:sp>
        <p:nvSpPr>
          <p:cNvPr id="15" name="Title 3"/>
          <p:cNvSpPr txBox="1">
            <a:spLocks/>
          </p:cNvSpPr>
          <p:nvPr>
            <p:custDataLst>
              <p:tags r:id="rId7"/>
            </p:custDataLst>
          </p:nvPr>
        </p:nvSpPr>
        <p:spPr>
          <a:xfrm>
            <a:off x="754204" y="5545148"/>
            <a:ext cx="6891495" cy="822961"/>
          </a:xfrm>
          <a:prstGeom prst="rect">
            <a:avLst/>
          </a:prstGeom>
        </p:spPr>
        <p:txBody>
          <a:bodyPr vert="horz" lIns="80133" tIns="40067" rIns="80133" bIns="40067" rtlCol="0" anchor="b" anchorCtr="0">
            <a:normAutofit/>
          </a:bodyPr>
          <a:lstStyle>
            <a:lvl1pPr algn="l" defTabSz="914239" rtl="0" eaLnBrk="1" latinLnBrk="0" hangingPunct="1">
              <a:spcBef>
                <a:spcPct val="0"/>
              </a:spcBef>
              <a:buNone/>
              <a:defRPr sz="2800" kern="1200">
                <a:solidFill>
                  <a:schemeClr val="accent1"/>
                </a:solidFill>
                <a:latin typeface="Garamond" pitchFamily="18" charset="0"/>
                <a:ea typeface="+mj-ea"/>
                <a:cs typeface="+mj-cs"/>
              </a:defRPr>
            </a:lvl1pPr>
          </a:lstStyle>
          <a:p>
            <a:r>
              <a:rPr lang="en-GB" sz="1200" dirty="0">
                <a:solidFill>
                  <a:schemeClr val="tx2"/>
                </a:solidFill>
              </a:rPr>
              <a:t>Footnotes and assumptions: list</a:t>
            </a:r>
          </a:p>
          <a:p>
            <a:r>
              <a:rPr lang="en-GB" sz="1200" dirty="0">
                <a:solidFill>
                  <a:schemeClr val="tx2"/>
                </a:solidFill>
              </a:rPr>
              <a:t>Source: List sources</a:t>
            </a:r>
          </a:p>
        </p:txBody>
      </p:sp>
      <p:sp>
        <p:nvSpPr>
          <p:cNvPr id="16" name="Rectangle 4"/>
          <p:cNvSpPr>
            <a:spLocks noGrp="1" noChangeArrowheads="1"/>
          </p:cNvSpPr>
          <p:nvPr>
            <p:ph type="title"/>
            <p:custDataLst>
              <p:tags r:id="rId8"/>
            </p:custDataLst>
          </p:nvPr>
        </p:nvSpPr>
        <p:spPr/>
        <p:txBody>
          <a:bodyPr/>
          <a:lstStyle/>
          <a:p>
            <a:r>
              <a:rPr lang="en-GB" dirty="0" smtClean="0"/>
              <a:t>Message title – </a:t>
            </a:r>
            <a:r>
              <a:rPr lang="en-US" dirty="0" smtClean="0"/>
              <a:t>why are you showing it? flow</a:t>
            </a:r>
            <a:endParaRPr lang="en-GB" dirty="0"/>
          </a:p>
        </p:txBody>
      </p:sp>
      <p:sp>
        <p:nvSpPr>
          <p:cNvPr id="5" name="Footer Placeholder 4"/>
          <p:cNvSpPr>
            <a:spLocks noGrp="1"/>
          </p:cNvSpPr>
          <p:nvPr>
            <p:ph type="ftr" sz="quarter" idx="3"/>
          </p:nvPr>
        </p:nvSpPr>
        <p:spPr/>
        <p:txBody>
          <a:bodyPr/>
          <a:lstStyle/>
          <a:p>
            <a:r>
              <a:rPr lang="en-US" dirty="0" smtClean="0"/>
              <a:t>neil young |neil@ogcommunicationdesign.com |www.ogcommunicationdesign.com</a:t>
            </a:r>
            <a:endParaRPr lang="en-US" dirty="0"/>
          </a:p>
        </p:txBody>
      </p:sp>
      <p:sp>
        <p:nvSpPr>
          <p:cNvPr id="20" name="Slide Number Placeholder 20"/>
          <p:cNvSpPr>
            <a:spLocks noGrp="1"/>
          </p:cNvSpPr>
          <p:nvPr>
            <p:ph type="sldNum" sz="quarter" idx="4"/>
            <p:custDataLst>
              <p:tags r:id="rId9"/>
            </p:custDataLst>
          </p:nvPr>
        </p:nvSpPr>
        <p:spPr/>
        <p:txBody>
          <a:bodyPr/>
          <a:lstStyle/>
          <a:p>
            <a:fld id="{27F67E6B-0F24-40AE-9272-914C56B63673}" type="slidenum">
              <a:rPr lang="en-AU" smtClean="0"/>
              <a:pPr/>
              <a:t>11</a:t>
            </a:fld>
            <a:r>
              <a:rPr lang="en-AU" dirty="0" smtClean="0"/>
              <a:t> </a:t>
            </a:r>
            <a:endParaRPr lang="en-AU" dirty="0"/>
          </a:p>
        </p:txBody>
      </p:sp>
      <p:sp>
        <p:nvSpPr>
          <p:cNvPr id="14" name="TextBox 13"/>
          <p:cNvSpPr txBox="1"/>
          <p:nvPr>
            <p:custDataLst>
              <p:tags r:id="rId10"/>
            </p:custDataLst>
          </p:nvPr>
        </p:nvSpPr>
        <p:spPr>
          <a:xfrm>
            <a:off x="755338" y="1481982"/>
            <a:ext cx="7606753" cy="362896"/>
          </a:xfrm>
          <a:prstGeom prst="rect">
            <a:avLst/>
          </a:prstGeom>
          <a:noFill/>
        </p:spPr>
        <p:txBody>
          <a:bodyPr wrap="square" lIns="80147" tIns="40074" rIns="80147" bIns="40074" rtlCol="0">
            <a:spAutoFit/>
          </a:bodyPr>
          <a:lstStyle/>
          <a:p>
            <a:r>
              <a:rPr lang="en-ZW" dirty="0">
                <a:latin typeface="Garamond" pitchFamily="18" charset="0"/>
              </a:rPr>
              <a:t>Title – what are you showing on this page?</a:t>
            </a:r>
          </a:p>
        </p:txBody>
      </p:sp>
    </p:spTree>
    <p:extLst>
      <p:ext uri="{BB962C8B-B14F-4D97-AF65-F5344CB8AC3E}">
        <p14:creationId xmlns:p14="http://schemas.microsoft.com/office/powerpoint/2010/main" val="127169332"/>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7916407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29" name="think-cell Slide" r:id="rId14" imgW="6350000" imgH="6350000" progId="TCLayout.ActiveDocument.1">
                  <p:embed/>
                </p:oleObj>
              </mc:Choice>
              <mc:Fallback>
                <p:oleObj name="think-cell Slide" r:id="rId14" imgW="6350000" imgH="6350000" progId="TCLayout.ActiveDocument.1">
                  <p:embed/>
                  <p:pic>
                    <p:nvPicPr>
                      <p:cNvPr id="0" name="Picture 10"/>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Freeform 3"/>
          <p:cNvSpPr>
            <a:spLocks/>
          </p:cNvSpPr>
          <p:nvPr>
            <p:custDataLst>
              <p:tags r:id="rId3"/>
            </p:custDataLst>
          </p:nvPr>
        </p:nvSpPr>
        <p:spPr bwMode="auto">
          <a:xfrm>
            <a:off x="1503363" y="4290524"/>
            <a:ext cx="5913437" cy="830752"/>
          </a:xfrm>
          <a:custGeom>
            <a:avLst/>
            <a:gdLst/>
            <a:ahLst/>
            <a:cxnLst>
              <a:cxn ang="0">
                <a:pos x="2824" y="190"/>
              </a:cxn>
              <a:cxn ang="0">
                <a:pos x="2455" y="0"/>
              </a:cxn>
              <a:cxn ang="0">
                <a:pos x="2558" y="88"/>
              </a:cxn>
              <a:cxn ang="0">
                <a:pos x="0" y="190"/>
              </a:cxn>
              <a:cxn ang="0">
                <a:pos x="621" y="380"/>
              </a:cxn>
              <a:cxn ang="0">
                <a:pos x="2755" y="333"/>
              </a:cxn>
              <a:cxn ang="0">
                <a:pos x="2887" y="417"/>
              </a:cxn>
              <a:cxn ang="0">
                <a:pos x="2824" y="190"/>
              </a:cxn>
            </a:cxnLst>
            <a:rect l="0" t="0" r="r" b="b"/>
            <a:pathLst>
              <a:path w="2888" h="418">
                <a:moveTo>
                  <a:pt x="2824" y="190"/>
                </a:moveTo>
                <a:lnTo>
                  <a:pt x="2455" y="0"/>
                </a:lnTo>
                <a:lnTo>
                  <a:pt x="2558" y="88"/>
                </a:lnTo>
                <a:lnTo>
                  <a:pt x="0" y="190"/>
                </a:lnTo>
                <a:lnTo>
                  <a:pt x="621" y="380"/>
                </a:lnTo>
                <a:lnTo>
                  <a:pt x="2755" y="333"/>
                </a:lnTo>
                <a:lnTo>
                  <a:pt x="2887" y="417"/>
                </a:lnTo>
                <a:lnTo>
                  <a:pt x="2824" y="190"/>
                </a:lnTo>
              </a:path>
            </a:pathLst>
          </a:custGeom>
          <a:solidFill>
            <a:schemeClr val="tx2"/>
          </a:solidFill>
          <a:ln w="9525">
            <a:solidFill>
              <a:schemeClr val="bg1"/>
            </a:solidFill>
            <a:miter lim="800000"/>
            <a:headEnd/>
            <a:tailEnd/>
          </a:ln>
          <a:effectLst/>
        </p:spPr>
        <p:txBody>
          <a:bodyPr lIns="80147" tIns="40074" rIns="80147" bIns="40074">
            <a:prstTxWarp prst="textNoShape">
              <a:avLst/>
            </a:prstTxWarp>
          </a:bodyPr>
          <a:lstStyle/>
          <a:p>
            <a:pPr indent="-269827"/>
            <a:endParaRPr lang="en-GB" sz="1600" dirty="0">
              <a:solidFill>
                <a:schemeClr val="bg1"/>
              </a:solidFill>
              <a:latin typeface="Garamond"/>
            </a:endParaRPr>
          </a:p>
        </p:txBody>
      </p:sp>
      <p:sp>
        <p:nvSpPr>
          <p:cNvPr id="16" name="Freeform 4"/>
          <p:cNvSpPr>
            <a:spLocks/>
          </p:cNvSpPr>
          <p:nvPr>
            <p:custDataLst>
              <p:tags r:id="rId4"/>
            </p:custDataLst>
          </p:nvPr>
        </p:nvSpPr>
        <p:spPr bwMode="auto">
          <a:xfrm>
            <a:off x="1540616" y="3003100"/>
            <a:ext cx="5605699" cy="2045303"/>
          </a:xfrm>
          <a:custGeom>
            <a:avLst/>
            <a:gdLst/>
            <a:ahLst/>
            <a:cxnLst>
              <a:cxn ang="0">
                <a:pos x="90" y="865"/>
              </a:cxn>
              <a:cxn ang="0">
                <a:pos x="267" y="912"/>
              </a:cxn>
              <a:cxn ang="0">
                <a:pos x="444" y="966"/>
              </a:cxn>
              <a:cxn ang="0">
                <a:pos x="618" y="1029"/>
              </a:cxn>
              <a:cxn ang="0">
                <a:pos x="764" y="1008"/>
              </a:cxn>
              <a:cxn ang="0">
                <a:pos x="906" y="977"/>
              </a:cxn>
              <a:cxn ang="0">
                <a:pos x="1043" y="939"/>
              </a:cxn>
              <a:cxn ang="0">
                <a:pos x="1174" y="893"/>
              </a:cxn>
              <a:cxn ang="0">
                <a:pos x="1298" y="839"/>
              </a:cxn>
              <a:cxn ang="0">
                <a:pos x="1415" y="779"/>
              </a:cxn>
              <a:cxn ang="0">
                <a:pos x="1524" y="710"/>
              </a:cxn>
              <a:cxn ang="0">
                <a:pos x="1623" y="636"/>
              </a:cxn>
              <a:cxn ang="0">
                <a:pos x="1714" y="555"/>
              </a:cxn>
              <a:cxn ang="0">
                <a:pos x="1774" y="502"/>
              </a:cxn>
              <a:cxn ang="0">
                <a:pos x="1838" y="452"/>
              </a:cxn>
              <a:cxn ang="0">
                <a:pos x="1904" y="406"/>
              </a:cxn>
              <a:cxn ang="0">
                <a:pos x="1972" y="365"/>
              </a:cxn>
              <a:cxn ang="0">
                <a:pos x="2039" y="329"/>
              </a:cxn>
              <a:cxn ang="0">
                <a:pos x="2104" y="300"/>
              </a:cxn>
              <a:cxn ang="0">
                <a:pos x="2166" y="279"/>
              </a:cxn>
              <a:cxn ang="0">
                <a:pos x="2223" y="265"/>
              </a:cxn>
              <a:cxn ang="0">
                <a:pos x="2274" y="260"/>
              </a:cxn>
              <a:cxn ang="0">
                <a:pos x="2323" y="259"/>
              </a:cxn>
              <a:cxn ang="0">
                <a:pos x="2379" y="262"/>
              </a:cxn>
              <a:cxn ang="0">
                <a:pos x="2439" y="269"/>
              </a:cxn>
              <a:cxn ang="0">
                <a:pos x="2502" y="280"/>
              </a:cxn>
              <a:cxn ang="0">
                <a:pos x="2566" y="294"/>
              </a:cxn>
              <a:cxn ang="0">
                <a:pos x="2627" y="310"/>
              </a:cxn>
              <a:cxn ang="0">
                <a:pos x="2686" y="382"/>
              </a:cxn>
              <a:cxn ang="0">
                <a:pos x="2737" y="459"/>
              </a:cxn>
              <a:cxn ang="0">
                <a:pos x="2577" y="101"/>
              </a:cxn>
              <a:cxn ang="0">
                <a:pos x="2329" y="32"/>
              </a:cxn>
              <a:cxn ang="0">
                <a:pos x="2324" y="80"/>
              </a:cxn>
              <a:cxn ang="0">
                <a:pos x="2305" y="73"/>
              </a:cxn>
              <a:cxn ang="0">
                <a:pos x="2276" y="66"/>
              </a:cxn>
              <a:cxn ang="0">
                <a:pos x="2242" y="60"/>
              </a:cxn>
              <a:cxn ang="0">
                <a:pos x="2203" y="55"/>
              </a:cxn>
              <a:cxn ang="0">
                <a:pos x="2163" y="52"/>
              </a:cxn>
              <a:cxn ang="0">
                <a:pos x="2123" y="51"/>
              </a:cxn>
              <a:cxn ang="0">
                <a:pos x="2024" y="53"/>
              </a:cxn>
              <a:cxn ang="0">
                <a:pos x="1932" y="61"/>
              </a:cxn>
              <a:cxn ang="0">
                <a:pos x="1849" y="75"/>
              </a:cxn>
              <a:cxn ang="0">
                <a:pos x="1774" y="94"/>
              </a:cxn>
              <a:cxn ang="0">
                <a:pos x="1708" y="118"/>
              </a:cxn>
              <a:cxn ang="0">
                <a:pos x="1599" y="217"/>
              </a:cxn>
              <a:cxn ang="0">
                <a:pos x="1442" y="381"/>
              </a:cxn>
              <a:cxn ang="0">
                <a:pos x="1282" y="533"/>
              </a:cxn>
              <a:cxn ang="0">
                <a:pos x="1119" y="674"/>
              </a:cxn>
              <a:cxn ang="0">
                <a:pos x="954" y="804"/>
              </a:cxn>
              <a:cxn ang="0">
                <a:pos x="787" y="923"/>
              </a:cxn>
              <a:cxn ang="0">
                <a:pos x="618" y="1029"/>
              </a:cxn>
              <a:cxn ang="0">
                <a:pos x="206" y="905"/>
              </a:cxn>
            </a:cxnLst>
            <a:rect l="0" t="0" r="r" b="b"/>
            <a:pathLst>
              <a:path w="2738" h="1030">
                <a:moveTo>
                  <a:pt x="0" y="845"/>
                </a:moveTo>
                <a:lnTo>
                  <a:pt x="90" y="865"/>
                </a:lnTo>
                <a:lnTo>
                  <a:pt x="178" y="888"/>
                </a:lnTo>
                <a:lnTo>
                  <a:pt x="267" y="912"/>
                </a:lnTo>
                <a:lnTo>
                  <a:pt x="356" y="938"/>
                </a:lnTo>
                <a:lnTo>
                  <a:pt x="444" y="966"/>
                </a:lnTo>
                <a:lnTo>
                  <a:pt x="532" y="997"/>
                </a:lnTo>
                <a:lnTo>
                  <a:pt x="618" y="1029"/>
                </a:lnTo>
                <a:lnTo>
                  <a:pt x="691" y="1019"/>
                </a:lnTo>
                <a:lnTo>
                  <a:pt x="764" y="1008"/>
                </a:lnTo>
                <a:lnTo>
                  <a:pt x="835" y="994"/>
                </a:lnTo>
                <a:lnTo>
                  <a:pt x="906" y="977"/>
                </a:lnTo>
                <a:lnTo>
                  <a:pt x="975" y="959"/>
                </a:lnTo>
                <a:lnTo>
                  <a:pt x="1043" y="939"/>
                </a:lnTo>
                <a:lnTo>
                  <a:pt x="1109" y="917"/>
                </a:lnTo>
                <a:lnTo>
                  <a:pt x="1174" y="893"/>
                </a:lnTo>
                <a:lnTo>
                  <a:pt x="1237" y="867"/>
                </a:lnTo>
                <a:lnTo>
                  <a:pt x="1298" y="839"/>
                </a:lnTo>
                <a:lnTo>
                  <a:pt x="1358" y="810"/>
                </a:lnTo>
                <a:lnTo>
                  <a:pt x="1415" y="779"/>
                </a:lnTo>
                <a:lnTo>
                  <a:pt x="1471" y="745"/>
                </a:lnTo>
                <a:lnTo>
                  <a:pt x="1524" y="710"/>
                </a:lnTo>
                <a:lnTo>
                  <a:pt x="1575" y="674"/>
                </a:lnTo>
                <a:lnTo>
                  <a:pt x="1623" y="636"/>
                </a:lnTo>
                <a:lnTo>
                  <a:pt x="1670" y="597"/>
                </a:lnTo>
                <a:lnTo>
                  <a:pt x="1714" y="555"/>
                </a:lnTo>
                <a:lnTo>
                  <a:pt x="1743" y="529"/>
                </a:lnTo>
                <a:lnTo>
                  <a:pt x="1774" y="502"/>
                </a:lnTo>
                <a:lnTo>
                  <a:pt x="1805" y="477"/>
                </a:lnTo>
                <a:lnTo>
                  <a:pt x="1838" y="452"/>
                </a:lnTo>
                <a:lnTo>
                  <a:pt x="1870" y="428"/>
                </a:lnTo>
                <a:lnTo>
                  <a:pt x="1904" y="406"/>
                </a:lnTo>
                <a:lnTo>
                  <a:pt x="1938" y="384"/>
                </a:lnTo>
                <a:lnTo>
                  <a:pt x="1972" y="365"/>
                </a:lnTo>
                <a:lnTo>
                  <a:pt x="2005" y="346"/>
                </a:lnTo>
                <a:lnTo>
                  <a:pt x="2039" y="329"/>
                </a:lnTo>
                <a:lnTo>
                  <a:pt x="2071" y="314"/>
                </a:lnTo>
                <a:lnTo>
                  <a:pt x="2104" y="300"/>
                </a:lnTo>
                <a:lnTo>
                  <a:pt x="2135" y="288"/>
                </a:lnTo>
                <a:lnTo>
                  <a:pt x="2166" y="279"/>
                </a:lnTo>
                <a:lnTo>
                  <a:pt x="2195" y="271"/>
                </a:lnTo>
                <a:lnTo>
                  <a:pt x="2223" y="265"/>
                </a:lnTo>
                <a:lnTo>
                  <a:pt x="2249" y="262"/>
                </a:lnTo>
                <a:lnTo>
                  <a:pt x="2274" y="260"/>
                </a:lnTo>
                <a:lnTo>
                  <a:pt x="2297" y="259"/>
                </a:lnTo>
                <a:lnTo>
                  <a:pt x="2323" y="259"/>
                </a:lnTo>
                <a:lnTo>
                  <a:pt x="2350" y="260"/>
                </a:lnTo>
                <a:lnTo>
                  <a:pt x="2379" y="262"/>
                </a:lnTo>
                <a:lnTo>
                  <a:pt x="2409" y="265"/>
                </a:lnTo>
                <a:lnTo>
                  <a:pt x="2439" y="269"/>
                </a:lnTo>
                <a:lnTo>
                  <a:pt x="2470" y="274"/>
                </a:lnTo>
                <a:lnTo>
                  <a:pt x="2502" y="280"/>
                </a:lnTo>
                <a:lnTo>
                  <a:pt x="2534" y="287"/>
                </a:lnTo>
                <a:lnTo>
                  <a:pt x="2566" y="294"/>
                </a:lnTo>
                <a:lnTo>
                  <a:pt x="2597" y="301"/>
                </a:lnTo>
                <a:lnTo>
                  <a:pt x="2627" y="310"/>
                </a:lnTo>
                <a:lnTo>
                  <a:pt x="2658" y="346"/>
                </a:lnTo>
                <a:lnTo>
                  <a:pt x="2686" y="382"/>
                </a:lnTo>
                <a:lnTo>
                  <a:pt x="2713" y="421"/>
                </a:lnTo>
                <a:lnTo>
                  <a:pt x="2737" y="459"/>
                </a:lnTo>
                <a:lnTo>
                  <a:pt x="2700" y="139"/>
                </a:lnTo>
                <a:lnTo>
                  <a:pt x="2577" y="101"/>
                </a:lnTo>
                <a:lnTo>
                  <a:pt x="2453" y="65"/>
                </a:lnTo>
                <a:lnTo>
                  <a:pt x="2329" y="32"/>
                </a:lnTo>
                <a:lnTo>
                  <a:pt x="2203" y="0"/>
                </a:lnTo>
                <a:lnTo>
                  <a:pt x="2324" y="80"/>
                </a:lnTo>
                <a:lnTo>
                  <a:pt x="2315" y="76"/>
                </a:lnTo>
                <a:lnTo>
                  <a:pt x="2305" y="73"/>
                </a:lnTo>
                <a:lnTo>
                  <a:pt x="2291" y="69"/>
                </a:lnTo>
                <a:lnTo>
                  <a:pt x="2276" y="66"/>
                </a:lnTo>
                <a:lnTo>
                  <a:pt x="2260" y="63"/>
                </a:lnTo>
                <a:lnTo>
                  <a:pt x="2242" y="60"/>
                </a:lnTo>
                <a:lnTo>
                  <a:pt x="2223" y="58"/>
                </a:lnTo>
                <a:lnTo>
                  <a:pt x="2203" y="55"/>
                </a:lnTo>
                <a:lnTo>
                  <a:pt x="2183" y="54"/>
                </a:lnTo>
                <a:lnTo>
                  <a:pt x="2163" y="52"/>
                </a:lnTo>
                <a:lnTo>
                  <a:pt x="2142" y="51"/>
                </a:lnTo>
                <a:lnTo>
                  <a:pt x="2123" y="51"/>
                </a:lnTo>
                <a:lnTo>
                  <a:pt x="2072" y="51"/>
                </a:lnTo>
                <a:lnTo>
                  <a:pt x="2024" y="53"/>
                </a:lnTo>
                <a:lnTo>
                  <a:pt x="1977" y="57"/>
                </a:lnTo>
                <a:lnTo>
                  <a:pt x="1932" y="61"/>
                </a:lnTo>
                <a:lnTo>
                  <a:pt x="1889" y="67"/>
                </a:lnTo>
                <a:lnTo>
                  <a:pt x="1849" y="75"/>
                </a:lnTo>
                <a:lnTo>
                  <a:pt x="1810" y="83"/>
                </a:lnTo>
                <a:lnTo>
                  <a:pt x="1774" y="94"/>
                </a:lnTo>
                <a:lnTo>
                  <a:pt x="1739" y="104"/>
                </a:lnTo>
                <a:lnTo>
                  <a:pt x="1708" y="118"/>
                </a:lnTo>
                <a:lnTo>
                  <a:pt x="1677" y="132"/>
                </a:lnTo>
                <a:lnTo>
                  <a:pt x="1599" y="217"/>
                </a:lnTo>
                <a:lnTo>
                  <a:pt x="1521" y="301"/>
                </a:lnTo>
                <a:lnTo>
                  <a:pt x="1442" y="381"/>
                </a:lnTo>
                <a:lnTo>
                  <a:pt x="1362" y="459"/>
                </a:lnTo>
                <a:lnTo>
                  <a:pt x="1282" y="533"/>
                </a:lnTo>
                <a:lnTo>
                  <a:pt x="1201" y="606"/>
                </a:lnTo>
                <a:lnTo>
                  <a:pt x="1119" y="674"/>
                </a:lnTo>
                <a:lnTo>
                  <a:pt x="1037" y="741"/>
                </a:lnTo>
                <a:lnTo>
                  <a:pt x="954" y="804"/>
                </a:lnTo>
                <a:lnTo>
                  <a:pt x="871" y="865"/>
                </a:lnTo>
                <a:lnTo>
                  <a:pt x="787" y="923"/>
                </a:lnTo>
                <a:lnTo>
                  <a:pt x="703" y="977"/>
                </a:lnTo>
                <a:lnTo>
                  <a:pt x="618" y="1029"/>
                </a:lnTo>
                <a:lnTo>
                  <a:pt x="412" y="966"/>
                </a:lnTo>
                <a:lnTo>
                  <a:pt x="206" y="905"/>
                </a:lnTo>
                <a:lnTo>
                  <a:pt x="0" y="845"/>
                </a:lnTo>
              </a:path>
            </a:pathLst>
          </a:custGeom>
          <a:solidFill>
            <a:schemeClr val="tx2"/>
          </a:solidFill>
          <a:ln w="9525">
            <a:solidFill>
              <a:schemeClr val="bg1"/>
            </a:solidFill>
            <a:miter lim="800000"/>
            <a:headEnd/>
            <a:tailEnd/>
          </a:ln>
          <a:effectLst/>
        </p:spPr>
        <p:txBody>
          <a:bodyPr lIns="80147" tIns="40074" rIns="80147" bIns="40074">
            <a:prstTxWarp prst="textNoShape">
              <a:avLst/>
            </a:prstTxWarp>
          </a:bodyPr>
          <a:lstStyle/>
          <a:p>
            <a:pPr indent="-269827"/>
            <a:endParaRPr lang="en-GB" sz="1600" dirty="0">
              <a:solidFill>
                <a:schemeClr val="bg1"/>
              </a:solidFill>
              <a:latin typeface="Garamond"/>
            </a:endParaRPr>
          </a:p>
        </p:txBody>
      </p:sp>
      <p:sp>
        <p:nvSpPr>
          <p:cNvPr id="17" name="Freeform 5"/>
          <p:cNvSpPr>
            <a:spLocks/>
          </p:cNvSpPr>
          <p:nvPr>
            <p:custDataLst>
              <p:tags r:id="rId5"/>
            </p:custDataLst>
          </p:nvPr>
        </p:nvSpPr>
        <p:spPr bwMode="auto">
          <a:xfrm>
            <a:off x="1508222" y="2058990"/>
            <a:ext cx="5506899" cy="2989413"/>
          </a:xfrm>
          <a:custGeom>
            <a:avLst/>
            <a:gdLst/>
            <a:ahLst/>
            <a:cxnLst>
              <a:cxn ang="0">
                <a:pos x="669" y="1491"/>
              </a:cxn>
              <a:cxn ang="0">
                <a:pos x="790" y="1458"/>
              </a:cxn>
              <a:cxn ang="0">
                <a:pos x="909" y="1415"/>
              </a:cxn>
              <a:cxn ang="0">
                <a:pos x="1024" y="1361"/>
              </a:cxn>
              <a:cxn ang="0">
                <a:pos x="1137" y="1296"/>
              </a:cxn>
              <a:cxn ang="0">
                <a:pos x="1244" y="1223"/>
              </a:cxn>
              <a:cxn ang="0">
                <a:pos x="1346" y="1140"/>
              </a:cxn>
              <a:cxn ang="0">
                <a:pos x="1441" y="1049"/>
              </a:cxn>
              <a:cxn ang="0">
                <a:pos x="1529" y="951"/>
              </a:cxn>
              <a:cxn ang="0">
                <a:pos x="1609" y="846"/>
              </a:cxn>
              <a:cxn ang="0">
                <a:pos x="1680" y="735"/>
              </a:cxn>
              <a:cxn ang="0">
                <a:pos x="1723" y="673"/>
              </a:cxn>
              <a:cxn ang="0">
                <a:pos x="1770" y="614"/>
              </a:cxn>
              <a:cxn ang="0">
                <a:pos x="1819" y="559"/>
              </a:cxn>
              <a:cxn ang="0">
                <a:pos x="1870" y="510"/>
              </a:cxn>
              <a:cxn ang="0">
                <a:pos x="1922" y="468"/>
              </a:cxn>
              <a:cxn ang="0">
                <a:pos x="1972" y="433"/>
              </a:cxn>
              <a:cxn ang="0">
                <a:pos x="2020" y="407"/>
              </a:cxn>
              <a:cxn ang="0">
                <a:pos x="2065" y="389"/>
              </a:cxn>
              <a:cxn ang="0">
                <a:pos x="2155" y="371"/>
              </a:cxn>
              <a:cxn ang="0">
                <a:pos x="2295" y="351"/>
              </a:cxn>
              <a:cxn ang="0">
                <a:pos x="2435" y="343"/>
              </a:cxn>
              <a:cxn ang="0">
                <a:pos x="2546" y="379"/>
              </a:cxn>
              <a:cxn ang="0">
                <a:pos x="2621" y="452"/>
              </a:cxn>
              <a:cxn ang="0">
                <a:pos x="2689" y="532"/>
              </a:cxn>
              <a:cxn ang="0">
                <a:pos x="2494" y="119"/>
              </a:cxn>
              <a:cxn ang="0">
                <a:pos x="2173" y="37"/>
              </a:cxn>
              <a:cxn ang="0">
                <a:pos x="2157" y="97"/>
              </a:cxn>
              <a:cxn ang="0">
                <a:pos x="2056" y="88"/>
              </a:cxn>
              <a:cxn ang="0">
                <a:pos x="1955" y="88"/>
              </a:cxn>
              <a:cxn ang="0">
                <a:pos x="1854" y="97"/>
              </a:cxn>
              <a:cxn ang="0">
                <a:pos x="1755" y="115"/>
              </a:cxn>
              <a:cxn ang="0">
                <a:pos x="1658" y="140"/>
              </a:cxn>
              <a:cxn ang="0">
                <a:pos x="1586" y="165"/>
              </a:cxn>
              <a:cxn ang="0">
                <a:pos x="1519" y="199"/>
              </a:cxn>
              <a:cxn ang="0">
                <a:pos x="1459" y="242"/>
              </a:cxn>
              <a:cxn ang="0">
                <a:pos x="1407" y="293"/>
              </a:cxn>
              <a:cxn ang="0">
                <a:pos x="1365" y="349"/>
              </a:cxn>
              <a:cxn ang="0">
                <a:pos x="1333" y="411"/>
              </a:cxn>
              <a:cxn ang="0">
                <a:pos x="1283" y="522"/>
              </a:cxn>
              <a:cxn ang="0">
                <a:pos x="1222" y="629"/>
              </a:cxn>
              <a:cxn ang="0">
                <a:pos x="1150" y="731"/>
              </a:cxn>
              <a:cxn ang="0">
                <a:pos x="1068" y="827"/>
              </a:cxn>
              <a:cxn ang="0">
                <a:pos x="977" y="916"/>
              </a:cxn>
              <a:cxn ang="0">
                <a:pos x="876" y="998"/>
              </a:cxn>
              <a:cxn ang="0">
                <a:pos x="768" y="1072"/>
              </a:cxn>
              <a:cxn ang="0">
                <a:pos x="652" y="1137"/>
              </a:cxn>
              <a:cxn ang="0">
                <a:pos x="530" y="1193"/>
              </a:cxn>
              <a:cxn ang="0">
                <a:pos x="403" y="1239"/>
              </a:cxn>
              <a:cxn ang="0">
                <a:pos x="272" y="1275"/>
              </a:cxn>
              <a:cxn ang="0">
                <a:pos x="137" y="1301"/>
              </a:cxn>
              <a:cxn ang="0">
                <a:pos x="0" y="1317"/>
              </a:cxn>
            </a:cxnLst>
            <a:rect l="0" t="0" r="r" b="b"/>
            <a:pathLst>
              <a:path w="2690" h="1505">
                <a:moveTo>
                  <a:pt x="608" y="1504"/>
                </a:moveTo>
                <a:lnTo>
                  <a:pt x="669" y="1491"/>
                </a:lnTo>
                <a:lnTo>
                  <a:pt x="730" y="1476"/>
                </a:lnTo>
                <a:lnTo>
                  <a:pt x="790" y="1458"/>
                </a:lnTo>
                <a:lnTo>
                  <a:pt x="850" y="1438"/>
                </a:lnTo>
                <a:lnTo>
                  <a:pt x="909" y="1415"/>
                </a:lnTo>
                <a:lnTo>
                  <a:pt x="968" y="1389"/>
                </a:lnTo>
                <a:lnTo>
                  <a:pt x="1024" y="1361"/>
                </a:lnTo>
                <a:lnTo>
                  <a:pt x="1081" y="1330"/>
                </a:lnTo>
                <a:lnTo>
                  <a:pt x="1137" y="1296"/>
                </a:lnTo>
                <a:lnTo>
                  <a:pt x="1191" y="1261"/>
                </a:lnTo>
                <a:lnTo>
                  <a:pt x="1244" y="1223"/>
                </a:lnTo>
                <a:lnTo>
                  <a:pt x="1296" y="1182"/>
                </a:lnTo>
                <a:lnTo>
                  <a:pt x="1346" y="1140"/>
                </a:lnTo>
                <a:lnTo>
                  <a:pt x="1395" y="1096"/>
                </a:lnTo>
                <a:lnTo>
                  <a:pt x="1441" y="1049"/>
                </a:lnTo>
                <a:lnTo>
                  <a:pt x="1486" y="1001"/>
                </a:lnTo>
                <a:lnTo>
                  <a:pt x="1529" y="951"/>
                </a:lnTo>
                <a:lnTo>
                  <a:pt x="1570" y="899"/>
                </a:lnTo>
                <a:lnTo>
                  <a:pt x="1609" y="846"/>
                </a:lnTo>
                <a:lnTo>
                  <a:pt x="1646" y="791"/>
                </a:lnTo>
                <a:lnTo>
                  <a:pt x="1680" y="735"/>
                </a:lnTo>
                <a:lnTo>
                  <a:pt x="1701" y="704"/>
                </a:lnTo>
                <a:lnTo>
                  <a:pt x="1723" y="673"/>
                </a:lnTo>
                <a:lnTo>
                  <a:pt x="1746" y="643"/>
                </a:lnTo>
                <a:lnTo>
                  <a:pt x="1770" y="614"/>
                </a:lnTo>
                <a:lnTo>
                  <a:pt x="1794" y="586"/>
                </a:lnTo>
                <a:lnTo>
                  <a:pt x="1819" y="559"/>
                </a:lnTo>
                <a:lnTo>
                  <a:pt x="1845" y="534"/>
                </a:lnTo>
                <a:lnTo>
                  <a:pt x="1870" y="510"/>
                </a:lnTo>
                <a:lnTo>
                  <a:pt x="1896" y="488"/>
                </a:lnTo>
                <a:lnTo>
                  <a:pt x="1922" y="468"/>
                </a:lnTo>
                <a:lnTo>
                  <a:pt x="1947" y="449"/>
                </a:lnTo>
                <a:lnTo>
                  <a:pt x="1972" y="433"/>
                </a:lnTo>
                <a:lnTo>
                  <a:pt x="1996" y="418"/>
                </a:lnTo>
                <a:lnTo>
                  <a:pt x="2020" y="407"/>
                </a:lnTo>
                <a:lnTo>
                  <a:pt x="2043" y="396"/>
                </a:lnTo>
                <a:lnTo>
                  <a:pt x="2065" y="389"/>
                </a:lnTo>
                <a:lnTo>
                  <a:pt x="2086" y="384"/>
                </a:lnTo>
                <a:lnTo>
                  <a:pt x="2155" y="371"/>
                </a:lnTo>
                <a:lnTo>
                  <a:pt x="2225" y="360"/>
                </a:lnTo>
                <a:lnTo>
                  <a:pt x="2295" y="351"/>
                </a:lnTo>
                <a:lnTo>
                  <a:pt x="2365" y="346"/>
                </a:lnTo>
                <a:lnTo>
                  <a:pt x="2435" y="343"/>
                </a:lnTo>
                <a:lnTo>
                  <a:pt x="2506" y="343"/>
                </a:lnTo>
                <a:lnTo>
                  <a:pt x="2546" y="379"/>
                </a:lnTo>
                <a:lnTo>
                  <a:pt x="2584" y="415"/>
                </a:lnTo>
                <a:lnTo>
                  <a:pt x="2621" y="452"/>
                </a:lnTo>
                <a:lnTo>
                  <a:pt x="2656" y="491"/>
                </a:lnTo>
                <a:lnTo>
                  <a:pt x="2689" y="532"/>
                </a:lnTo>
                <a:lnTo>
                  <a:pt x="2654" y="162"/>
                </a:lnTo>
                <a:lnTo>
                  <a:pt x="2494" y="119"/>
                </a:lnTo>
                <a:lnTo>
                  <a:pt x="2334" y="76"/>
                </a:lnTo>
                <a:lnTo>
                  <a:pt x="2173" y="37"/>
                </a:lnTo>
                <a:lnTo>
                  <a:pt x="2011" y="0"/>
                </a:lnTo>
                <a:lnTo>
                  <a:pt x="2157" y="97"/>
                </a:lnTo>
                <a:lnTo>
                  <a:pt x="2107" y="91"/>
                </a:lnTo>
                <a:lnTo>
                  <a:pt x="2056" y="88"/>
                </a:lnTo>
                <a:lnTo>
                  <a:pt x="2006" y="87"/>
                </a:lnTo>
                <a:lnTo>
                  <a:pt x="1955" y="88"/>
                </a:lnTo>
                <a:lnTo>
                  <a:pt x="1904" y="91"/>
                </a:lnTo>
                <a:lnTo>
                  <a:pt x="1854" y="97"/>
                </a:lnTo>
                <a:lnTo>
                  <a:pt x="1804" y="105"/>
                </a:lnTo>
                <a:lnTo>
                  <a:pt x="1755" y="115"/>
                </a:lnTo>
                <a:lnTo>
                  <a:pt x="1706" y="126"/>
                </a:lnTo>
                <a:lnTo>
                  <a:pt x="1658" y="140"/>
                </a:lnTo>
                <a:lnTo>
                  <a:pt x="1621" y="152"/>
                </a:lnTo>
                <a:lnTo>
                  <a:pt x="1586" y="165"/>
                </a:lnTo>
                <a:lnTo>
                  <a:pt x="1552" y="181"/>
                </a:lnTo>
                <a:lnTo>
                  <a:pt x="1519" y="199"/>
                </a:lnTo>
                <a:lnTo>
                  <a:pt x="1488" y="220"/>
                </a:lnTo>
                <a:lnTo>
                  <a:pt x="1459" y="242"/>
                </a:lnTo>
                <a:lnTo>
                  <a:pt x="1432" y="266"/>
                </a:lnTo>
                <a:lnTo>
                  <a:pt x="1407" y="293"/>
                </a:lnTo>
                <a:lnTo>
                  <a:pt x="1385" y="320"/>
                </a:lnTo>
                <a:lnTo>
                  <a:pt x="1365" y="349"/>
                </a:lnTo>
                <a:lnTo>
                  <a:pt x="1348" y="379"/>
                </a:lnTo>
                <a:lnTo>
                  <a:pt x="1333" y="411"/>
                </a:lnTo>
                <a:lnTo>
                  <a:pt x="1310" y="467"/>
                </a:lnTo>
                <a:lnTo>
                  <a:pt x="1283" y="522"/>
                </a:lnTo>
                <a:lnTo>
                  <a:pt x="1254" y="576"/>
                </a:lnTo>
                <a:lnTo>
                  <a:pt x="1222" y="629"/>
                </a:lnTo>
                <a:lnTo>
                  <a:pt x="1187" y="681"/>
                </a:lnTo>
                <a:lnTo>
                  <a:pt x="1150" y="731"/>
                </a:lnTo>
                <a:lnTo>
                  <a:pt x="1110" y="779"/>
                </a:lnTo>
                <a:lnTo>
                  <a:pt x="1068" y="827"/>
                </a:lnTo>
                <a:lnTo>
                  <a:pt x="1024" y="872"/>
                </a:lnTo>
                <a:lnTo>
                  <a:pt x="977" y="916"/>
                </a:lnTo>
                <a:lnTo>
                  <a:pt x="928" y="958"/>
                </a:lnTo>
                <a:lnTo>
                  <a:pt x="876" y="998"/>
                </a:lnTo>
                <a:lnTo>
                  <a:pt x="823" y="1036"/>
                </a:lnTo>
                <a:lnTo>
                  <a:pt x="768" y="1072"/>
                </a:lnTo>
                <a:lnTo>
                  <a:pt x="710" y="1105"/>
                </a:lnTo>
                <a:lnTo>
                  <a:pt x="652" y="1137"/>
                </a:lnTo>
                <a:lnTo>
                  <a:pt x="592" y="1166"/>
                </a:lnTo>
                <a:lnTo>
                  <a:pt x="530" y="1193"/>
                </a:lnTo>
                <a:lnTo>
                  <a:pt x="467" y="1217"/>
                </a:lnTo>
                <a:lnTo>
                  <a:pt x="403" y="1239"/>
                </a:lnTo>
                <a:lnTo>
                  <a:pt x="338" y="1258"/>
                </a:lnTo>
                <a:lnTo>
                  <a:pt x="272" y="1275"/>
                </a:lnTo>
                <a:lnTo>
                  <a:pt x="204" y="1290"/>
                </a:lnTo>
                <a:lnTo>
                  <a:pt x="137" y="1301"/>
                </a:lnTo>
                <a:lnTo>
                  <a:pt x="69" y="1310"/>
                </a:lnTo>
                <a:lnTo>
                  <a:pt x="0" y="1317"/>
                </a:lnTo>
                <a:lnTo>
                  <a:pt x="608" y="1504"/>
                </a:lnTo>
              </a:path>
            </a:pathLst>
          </a:custGeom>
          <a:solidFill>
            <a:schemeClr val="tx2"/>
          </a:solidFill>
          <a:ln w="9525">
            <a:solidFill>
              <a:schemeClr val="bg1"/>
            </a:solidFill>
            <a:miter lim="800000"/>
            <a:headEnd/>
            <a:tailEnd/>
          </a:ln>
          <a:effectLst/>
        </p:spPr>
        <p:txBody>
          <a:bodyPr lIns="80147" tIns="40074" rIns="80147" bIns="40074">
            <a:prstTxWarp prst="textNoShape">
              <a:avLst/>
            </a:prstTxWarp>
          </a:bodyPr>
          <a:lstStyle/>
          <a:p>
            <a:pPr indent="-269827"/>
            <a:endParaRPr lang="en-GB" sz="1600" dirty="0">
              <a:solidFill>
                <a:schemeClr val="bg1"/>
              </a:solidFill>
              <a:latin typeface="Garamond"/>
            </a:endParaRPr>
          </a:p>
        </p:txBody>
      </p:sp>
      <p:sp>
        <p:nvSpPr>
          <p:cNvPr id="18" name="Rectangle 6"/>
          <p:cNvSpPr>
            <a:spLocks noChangeArrowheads="1"/>
          </p:cNvSpPr>
          <p:nvPr>
            <p:custDataLst>
              <p:tags r:id="rId6"/>
            </p:custDataLst>
          </p:nvPr>
        </p:nvSpPr>
        <p:spPr bwMode="auto">
          <a:xfrm>
            <a:off x="5429458" y="2403922"/>
            <a:ext cx="1373486" cy="251236"/>
          </a:xfrm>
          <a:prstGeom prst="rect">
            <a:avLst/>
          </a:prstGeom>
          <a:noFill/>
          <a:ln w="9525">
            <a:noFill/>
            <a:miter lim="800000"/>
            <a:headEnd/>
            <a:tailEnd/>
          </a:ln>
          <a:effectLst/>
        </p:spPr>
        <p:txBody>
          <a:bodyPr lIns="0" tIns="0" rIns="0" bIns="0">
            <a:prstTxWarp prst="textNoShape">
              <a:avLst/>
            </a:prstTxWarp>
            <a:spAutoFit/>
          </a:bodyPr>
          <a:lstStyle/>
          <a:p>
            <a:pPr defTabSz="787261">
              <a:spcBef>
                <a:spcPct val="20000"/>
              </a:spcBef>
            </a:pPr>
            <a:r>
              <a:rPr lang="en-AU" sz="1600" dirty="0">
                <a:solidFill>
                  <a:srgbClr val="FFFFFF"/>
                </a:solidFill>
                <a:latin typeface="Garamond"/>
              </a:rPr>
              <a:t>Text</a:t>
            </a:r>
          </a:p>
        </p:txBody>
      </p:sp>
      <p:sp>
        <p:nvSpPr>
          <p:cNvPr id="19" name="Rectangle 7"/>
          <p:cNvSpPr>
            <a:spLocks noChangeArrowheads="1"/>
          </p:cNvSpPr>
          <p:nvPr>
            <p:custDataLst>
              <p:tags r:id="rId7"/>
            </p:custDataLst>
          </p:nvPr>
        </p:nvSpPr>
        <p:spPr bwMode="auto">
          <a:xfrm>
            <a:off x="5429458" y="3246010"/>
            <a:ext cx="1373486" cy="251236"/>
          </a:xfrm>
          <a:prstGeom prst="rect">
            <a:avLst/>
          </a:prstGeom>
          <a:noFill/>
          <a:ln w="9525">
            <a:noFill/>
            <a:miter lim="800000"/>
            <a:headEnd/>
            <a:tailEnd/>
          </a:ln>
          <a:effectLst/>
        </p:spPr>
        <p:txBody>
          <a:bodyPr lIns="0" tIns="0" rIns="0" bIns="0">
            <a:prstTxWarp prst="textNoShape">
              <a:avLst/>
            </a:prstTxWarp>
            <a:spAutoFit/>
          </a:bodyPr>
          <a:lstStyle/>
          <a:p>
            <a:pPr defTabSz="787261">
              <a:spcBef>
                <a:spcPct val="20000"/>
              </a:spcBef>
            </a:pPr>
            <a:r>
              <a:rPr lang="en-AU" sz="1600" dirty="0">
                <a:solidFill>
                  <a:srgbClr val="FFFFFF"/>
                </a:solidFill>
                <a:latin typeface="Garamond"/>
              </a:rPr>
              <a:t>Text</a:t>
            </a:r>
          </a:p>
        </p:txBody>
      </p:sp>
      <p:sp>
        <p:nvSpPr>
          <p:cNvPr id="20" name="Rectangle 8"/>
          <p:cNvSpPr>
            <a:spLocks noChangeArrowheads="1"/>
          </p:cNvSpPr>
          <p:nvPr>
            <p:custDataLst>
              <p:tags r:id="rId8"/>
            </p:custDataLst>
          </p:nvPr>
        </p:nvSpPr>
        <p:spPr bwMode="auto">
          <a:xfrm>
            <a:off x="5429458" y="4628978"/>
            <a:ext cx="1454469" cy="251236"/>
          </a:xfrm>
          <a:prstGeom prst="rect">
            <a:avLst/>
          </a:prstGeom>
          <a:noFill/>
          <a:ln w="9525">
            <a:noFill/>
            <a:miter lim="800000"/>
            <a:headEnd/>
            <a:tailEnd/>
          </a:ln>
          <a:effectLst/>
        </p:spPr>
        <p:txBody>
          <a:bodyPr lIns="0" tIns="0" rIns="0" bIns="0">
            <a:prstTxWarp prst="textNoShape">
              <a:avLst/>
            </a:prstTxWarp>
            <a:spAutoFit/>
          </a:bodyPr>
          <a:lstStyle/>
          <a:p>
            <a:pPr defTabSz="787261">
              <a:spcBef>
                <a:spcPct val="20000"/>
              </a:spcBef>
            </a:pPr>
            <a:r>
              <a:rPr lang="en-AU" sz="1600" dirty="0">
                <a:solidFill>
                  <a:srgbClr val="FFFFFF"/>
                </a:solidFill>
                <a:latin typeface="Garamond"/>
              </a:rPr>
              <a:t>Text</a:t>
            </a:r>
          </a:p>
        </p:txBody>
      </p:sp>
      <p:sp>
        <p:nvSpPr>
          <p:cNvPr id="23" name="Title 3"/>
          <p:cNvSpPr txBox="1">
            <a:spLocks/>
          </p:cNvSpPr>
          <p:nvPr>
            <p:custDataLst>
              <p:tags r:id="rId9"/>
            </p:custDataLst>
          </p:nvPr>
        </p:nvSpPr>
        <p:spPr>
          <a:xfrm>
            <a:off x="754204" y="5545148"/>
            <a:ext cx="6891495" cy="822961"/>
          </a:xfrm>
          <a:prstGeom prst="rect">
            <a:avLst/>
          </a:prstGeom>
        </p:spPr>
        <p:txBody>
          <a:bodyPr vert="horz" lIns="80133" tIns="40067" rIns="80133" bIns="40067" rtlCol="0" anchor="b" anchorCtr="0">
            <a:normAutofit/>
          </a:bodyPr>
          <a:lstStyle>
            <a:lvl1pPr algn="l" defTabSz="914239" rtl="0" eaLnBrk="1" latinLnBrk="0" hangingPunct="1">
              <a:spcBef>
                <a:spcPct val="0"/>
              </a:spcBef>
              <a:buNone/>
              <a:defRPr sz="2800" kern="1200">
                <a:solidFill>
                  <a:schemeClr val="accent1"/>
                </a:solidFill>
                <a:latin typeface="Garamond" pitchFamily="18" charset="0"/>
                <a:ea typeface="+mj-ea"/>
                <a:cs typeface="+mj-cs"/>
              </a:defRPr>
            </a:lvl1pPr>
          </a:lstStyle>
          <a:p>
            <a:r>
              <a:rPr lang="en-GB" sz="1200" dirty="0">
                <a:solidFill>
                  <a:schemeClr val="tx2"/>
                </a:solidFill>
              </a:rPr>
              <a:t>Footnotes and assumptions: list</a:t>
            </a:r>
          </a:p>
          <a:p>
            <a:r>
              <a:rPr lang="en-GB" sz="1200" dirty="0">
                <a:solidFill>
                  <a:schemeClr val="tx2"/>
                </a:solidFill>
              </a:rPr>
              <a:t>Source: List sources</a:t>
            </a:r>
          </a:p>
        </p:txBody>
      </p:sp>
      <p:sp>
        <p:nvSpPr>
          <p:cNvPr id="24" name="Rectangle 4"/>
          <p:cNvSpPr>
            <a:spLocks noGrp="1" noChangeArrowheads="1"/>
          </p:cNvSpPr>
          <p:nvPr>
            <p:ph type="title"/>
            <p:custDataLst>
              <p:tags r:id="rId10"/>
            </p:custDataLst>
          </p:nvPr>
        </p:nvSpPr>
        <p:spPr/>
        <p:txBody>
          <a:bodyPr/>
          <a:lstStyle/>
          <a:p>
            <a:r>
              <a:rPr lang="en-GB" dirty="0" smtClean="0"/>
              <a:t>Message title – </a:t>
            </a:r>
            <a:r>
              <a:rPr lang="en-US" dirty="0" smtClean="0"/>
              <a:t>why are you showing it? flow</a:t>
            </a:r>
            <a:endParaRPr lang="en-GB" dirty="0"/>
          </a:p>
        </p:txBody>
      </p:sp>
      <p:sp>
        <p:nvSpPr>
          <p:cNvPr id="5" name="Footer Placeholder 4"/>
          <p:cNvSpPr>
            <a:spLocks noGrp="1"/>
          </p:cNvSpPr>
          <p:nvPr>
            <p:ph type="ftr" sz="quarter" idx="3"/>
          </p:nvPr>
        </p:nvSpPr>
        <p:spPr/>
        <p:txBody>
          <a:bodyPr/>
          <a:lstStyle/>
          <a:p>
            <a:r>
              <a:rPr lang="en-US" dirty="0" smtClean="0"/>
              <a:t>neil young |neil@ogcommunicationdesign.com |www.ogcommunicationdesign.com</a:t>
            </a:r>
            <a:endParaRPr lang="en-US" dirty="0"/>
          </a:p>
        </p:txBody>
      </p:sp>
      <p:sp>
        <p:nvSpPr>
          <p:cNvPr id="13" name="Slide Number Placeholder 12"/>
          <p:cNvSpPr>
            <a:spLocks noGrp="1"/>
          </p:cNvSpPr>
          <p:nvPr>
            <p:ph type="sldNum" sz="quarter" idx="4"/>
            <p:custDataLst>
              <p:tags r:id="rId11"/>
            </p:custDataLst>
          </p:nvPr>
        </p:nvSpPr>
        <p:spPr/>
        <p:txBody>
          <a:bodyPr/>
          <a:lstStyle/>
          <a:p>
            <a:fld id="{27F67E6B-0F24-40AE-9272-914C56B63673}" type="slidenum">
              <a:rPr lang="en-AU" smtClean="0"/>
              <a:pPr/>
              <a:t>12</a:t>
            </a:fld>
            <a:r>
              <a:rPr lang="en-AU" dirty="0" smtClean="0"/>
              <a:t> </a:t>
            </a:r>
            <a:endParaRPr lang="en-AU" dirty="0"/>
          </a:p>
        </p:txBody>
      </p:sp>
      <p:sp>
        <p:nvSpPr>
          <p:cNvPr id="14" name="TextBox 13"/>
          <p:cNvSpPr txBox="1"/>
          <p:nvPr>
            <p:custDataLst>
              <p:tags r:id="rId12"/>
            </p:custDataLst>
          </p:nvPr>
        </p:nvSpPr>
        <p:spPr>
          <a:xfrm>
            <a:off x="755338" y="1481982"/>
            <a:ext cx="7606753" cy="362896"/>
          </a:xfrm>
          <a:prstGeom prst="rect">
            <a:avLst/>
          </a:prstGeom>
          <a:noFill/>
        </p:spPr>
        <p:txBody>
          <a:bodyPr wrap="square" lIns="80147" tIns="40074" rIns="80147" bIns="40074" rtlCol="0">
            <a:spAutoFit/>
          </a:bodyPr>
          <a:lstStyle/>
          <a:p>
            <a:r>
              <a:rPr lang="en-ZW" dirty="0">
                <a:latin typeface="Garamond" pitchFamily="18" charset="0"/>
              </a:rPr>
              <a:t>Title – what are you showing on this page?</a:t>
            </a:r>
          </a:p>
        </p:txBody>
      </p:sp>
    </p:spTree>
    <p:extLst>
      <p:ext uri="{BB962C8B-B14F-4D97-AF65-F5344CB8AC3E}">
        <p14:creationId xmlns:p14="http://schemas.microsoft.com/office/powerpoint/2010/main" val="127169332"/>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496170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53" name="think-cell Slide" r:id="rId15" imgW="6350000" imgH="6350000" progId="TCLayout.ActiveDocument.1">
                  <p:embed/>
                </p:oleObj>
              </mc:Choice>
              <mc:Fallback>
                <p:oleObj name="think-cell Slide" r:id="rId15" imgW="6350000" imgH="6350000" progId="TCLayout.ActiveDocument.1">
                  <p:embed/>
                  <p:pic>
                    <p:nvPicPr>
                      <p:cNvPr id="0" name="Picture 10"/>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Freeform 3"/>
          <p:cNvSpPr>
            <a:spLocks/>
          </p:cNvSpPr>
          <p:nvPr>
            <p:custDataLst>
              <p:tags r:id="rId3"/>
            </p:custDataLst>
          </p:nvPr>
        </p:nvSpPr>
        <p:spPr bwMode="auto">
          <a:xfrm>
            <a:off x="2356589" y="2371719"/>
            <a:ext cx="3757500" cy="3545339"/>
          </a:xfrm>
          <a:custGeom>
            <a:avLst/>
            <a:gdLst>
              <a:gd name="T0" fmla="*/ 58 w 3151"/>
              <a:gd name="T1" fmla="*/ 1999 h 2521"/>
              <a:gd name="T2" fmla="*/ 0 w 3151"/>
              <a:gd name="T3" fmla="*/ 1866 h 2521"/>
              <a:gd name="T4" fmla="*/ 0 w 3151"/>
              <a:gd name="T5" fmla="*/ 1061 h 2521"/>
              <a:gd name="T6" fmla="*/ 0 w 3151"/>
              <a:gd name="T7" fmla="*/ 602 h 2521"/>
              <a:gd name="T8" fmla="*/ 283 w 3151"/>
              <a:gd name="T9" fmla="*/ 600 h 2521"/>
              <a:gd name="T10" fmla="*/ 1009 w 3151"/>
              <a:gd name="T11" fmla="*/ 600 h 2521"/>
              <a:gd name="T12" fmla="*/ 1210 w 3151"/>
              <a:gd name="T13" fmla="*/ 590 h 2521"/>
              <a:gd name="T14" fmla="*/ 1462 w 3151"/>
              <a:gd name="T15" fmla="*/ 365 h 2521"/>
              <a:gd name="T16" fmla="*/ 1840 w 3151"/>
              <a:gd name="T17" fmla="*/ 93 h 2521"/>
              <a:gd name="T18" fmla="*/ 2050 w 3151"/>
              <a:gd name="T19" fmla="*/ 67 h 2521"/>
              <a:gd name="T20" fmla="*/ 2098 w 3151"/>
              <a:gd name="T21" fmla="*/ 65 h 2521"/>
              <a:gd name="T22" fmla="*/ 2098 w 3151"/>
              <a:gd name="T23" fmla="*/ 37 h 2521"/>
              <a:gd name="T24" fmla="*/ 2098 w 3151"/>
              <a:gd name="T25" fmla="*/ 3 h 2521"/>
              <a:gd name="T26" fmla="*/ 2126 w 3151"/>
              <a:gd name="T27" fmla="*/ 26 h 2521"/>
              <a:gd name="T28" fmla="*/ 2299 w 3151"/>
              <a:gd name="T29" fmla="*/ 178 h 2521"/>
              <a:gd name="T30" fmla="*/ 2397 w 3151"/>
              <a:gd name="T31" fmla="*/ 266 h 2521"/>
              <a:gd name="T32" fmla="*/ 2327 w 3151"/>
              <a:gd name="T33" fmla="*/ 330 h 2521"/>
              <a:gd name="T34" fmla="*/ 2146 w 3151"/>
              <a:gd name="T35" fmla="*/ 491 h 2521"/>
              <a:gd name="T36" fmla="*/ 2098 w 3151"/>
              <a:gd name="T37" fmla="*/ 532 h 2521"/>
              <a:gd name="T38" fmla="*/ 2098 w 3151"/>
              <a:gd name="T39" fmla="*/ 504 h 2521"/>
              <a:gd name="T40" fmla="*/ 2098 w 3151"/>
              <a:gd name="T41" fmla="*/ 469 h 2521"/>
              <a:gd name="T42" fmla="*/ 2070 w 3151"/>
              <a:gd name="T43" fmla="*/ 466 h 2521"/>
              <a:gd name="T44" fmla="*/ 1887 w 3151"/>
              <a:gd name="T45" fmla="*/ 474 h 2521"/>
              <a:gd name="T46" fmla="*/ 1535 w 3151"/>
              <a:gd name="T47" fmla="*/ 671 h 2521"/>
              <a:gd name="T48" fmla="*/ 1228 w 3151"/>
              <a:gd name="T49" fmla="*/ 911 h 2521"/>
              <a:gd name="T50" fmla="*/ 1314 w 3151"/>
              <a:gd name="T51" fmla="*/ 933 h 2521"/>
              <a:gd name="T52" fmla="*/ 2002 w 3151"/>
              <a:gd name="T53" fmla="*/ 933 h 2521"/>
              <a:gd name="T54" fmla="*/ 2395 w 3151"/>
              <a:gd name="T55" fmla="*/ 933 h 2521"/>
              <a:gd name="T56" fmla="*/ 2398 w 3151"/>
              <a:gd name="T57" fmla="*/ 917 h 2521"/>
              <a:gd name="T58" fmla="*/ 2398 w 3151"/>
              <a:gd name="T59" fmla="*/ 877 h 2521"/>
              <a:gd name="T60" fmla="*/ 2407 w 3151"/>
              <a:gd name="T61" fmla="*/ 874 h 2521"/>
              <a:gd name="T62" fmla="*/ 2628 w 3151"/>
              <a:gd name="T63" fmla="*/ 1057 h 2521"/>
              <a:gd name="T64" fmla="*/ 2896 w 3151"/>
              <a:gd name="T65" fmla="*/ 1278 h 2521"/>
              <a:gd name="T66" fmla="*/ 2872 w 3151"/>
              <a:gd name="T67" fmla="*/ 1341 h 2521"/>
              <a:gd name="T68" fmla="*/ 2570 w 3151"/>
              <a:gd name="T69" fmla="*/ 1589 h 2521"/>
              <a:gd name="T70" fmla="*/ 2399 w 3151"/>
              <a:gd name="T71" fmla="*/ 1732 h 2521"/>
              <a:gd name="T72" fmla="*/ 2398 w 3151"/>
              <a:gd name="T73" fmla="*/ 1717 h 2521"/>
              <a:gd name="T74" fmla="*/ 2398 w 3151"/>
              <a:gd name="T75" fmla="*/ 1677 h 2521"/>
              <a:gd name="T76" fmla="*/ 2377 w 3151"/>
              <a:gd name="T77" fmla="*/ 1666 h 2521"/>
              <a:gd name="T78" fmla="*/ 1871 w 3151"/>
              <a:gd name="T79" fmla="*/ 1666 h 2521"/>
              <a:gd name="T80" fmla="*/ 1257 w 3151"/>
              <a:gd name="T81" fmla="*/ 1666 h 2521"/>
              <a:gd name="T82" fmla="*/ 1256 w 3151"/>
              <a:gd name="T83" fmla="*/ 1711 h 2521"/>
              <a:gd name="T84" fmla="*/ 1606 w 3151"/>
              <a:gd name="T85" fmla="*/ 1978 h 2521"/>
              <a:gd name="T86" fmla="*/ 1929 w 3151"/>
              <a:gd name="T87" fmla="*/ 2132 h 2521"/>
              <a:gd name="T88" fmla="*/ 2083 w 3151"/>
              <a:gd name="T89" fmla="*/ 2133 h 2521"/>
              <a:gd name="T90" fmla="*/ 2098 w 3151"/>
              <a:gd name="T91" fmla="*/ 2127 h 2521"/>
              <a:gd name="T92" fmla="*/ 2098 w 3151"/>
              <a:gd name="T93" fmla="*/ 2087 h 2521"/>
              <a:gd name="T94" fmla="*/ 2098 w 3151"/>
              <a:gd name="T95" fmla="*/ 2066 h 2521"/>
              <a:gd name="T96" fmla="*/ 2169 w 3151"/>
              <a:gd name="T97" fmla="*/ 2129 h 2521"/>
              <a:gd name="T98" fmla="*/ 2351 w 3151"/>
              <a:gd name="T99" fmla="*/ 2291 h 2521"/>
              <a:gd name="T100" fmla="*/ 2392 w 3151"/>
              <a:gd name="T101" fmla="*/ 2337 h 2521"/>
              <a:gd name="T102" fmla="*/ 2266 w 3151"/>
              <a:gd name="T103" fmla="*/ 2449 h 2521"/>
              <a:gd name="T104" fmla="*/ 2112 w 3151"/>
              <a:gd name="T105" fmla="*/ 2586 h 2521"/>
              <a:gd name="T106" fmla="*/ 2098 w 3151"/>
              <a:gd name="T107" fmla="*/ 2593 h 2521"/>
              <a:gd name="T108" fmla="*/ 2098 w 3151"/>
              <a:gd name="T109" fmla="*/ 2555 h 2521"/>
              <a:gd name="T110" fmla="*/ 2098 w 3151"/>
              <a:gd name="T111" fmla="*/ 2533 h 2521"/>
              <a:gd name="T112" fmla="*/ 2027 w 3151"/>
              <a:gd name="T113" fmla="*/ 2532 h 2521"/>
              <a:gd name="T114" fmla="*/ 1788 w 3151"/>
              <a:gd name="T115" fmla="*/ 2481 h 2521"/>
              <a:gd name="T116" fmla="*/ 1397 w 3151"/>
              <a:gd name="T117" fmla="*/ 2175 h 2521"/>
              <a:gd name="T118" fmla="*/ 1200 w 3151"/>
              <a:gd name="T119" fmla="*/ 2000 h 2521"/>
              <a:gd name="T120" fmla="*/ 916 w 3151"/>
              <a:gd name="T121" fmla="*/ 1999 h 25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151"/>
              <a:gd name="T184" fmla="*/ 0 h 2521"/>
              <a:gd name="T185" fmla="*/ 3151 w 3151"/>
              <a:gd name="T186" fmla="*/ 2521 h 25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151" h="2521">
                <a:moveTo>
                  <a:pt x="646" y="1938"/>
                </a:moveTo>
                <a:lnTo>
                  <a:pt x="568" y="1938"/>
                </a:lnTo>
                <a:lnTo>
                  <a:pt x="495" y="1938"/>
                </a:lnTo>
                <a:lnTo>
                  <a:pt x="427" y="1938"/>
                </a:lnTo>
                <a:lnTo>
                  <a:pt x="363" y="1938"/>
                </a:lnTo>
                <a:lnTo>
                  <a:pt x="305" y="1938"/>
                </a:lnTo>
                <a:lnTo>
                  <a:pt x="252" y="1938"/>
                </a:lnTo>
                <a:lnTo>
                  <a:pt x="204" y="1938"/>
                </a:lnTo>
                <a:lnTo>
                  <a:pt x="162" y="1938"/>
                </a:lnTo>
                <a:lnTo>
                  <a:pt x="124" y="1938"/>
                </a:lnTo>
                <a:lnTo>
                  <a:pt x="91" y="1938"/>
                </a:lnTo>
                <a:lnTo>
                  <a:pt x="63" y="1938"/>
                </a:lnTo>
                <a:lnTo>
                  <a:pt x="40" y="1938"/>
                </a:lnTo>
                <a:lnTo>
                  <a:pt x="23" y="1938"/>
                </a:lnTo>
                <a:lnTo>
                  <a:pt x="10" y="1938"/>
                </a:lnTo>
                <a:lnTo>
                  <a:pt x="3" y="1938"/>
                </a:lnTo>
                <a:lnTo>
                  <a:pt x="0" y="1938"/>
                </a:lnTo>
                <a:lnTo>
                  <a:pt x="0" y="1936"/>
                </a:lnTo>
                <a:lnTo>
                  <a:pt x="0" y="1928"/>
                </a:lnTo>
                <a:lnTo>
                  <a:pt x="0" y="1915"/>
                </a:lnTo>
                <a:lnTo>
                  <a:pt x="0" y="1896"/>
                </a:lnTo>
                <a:lnTo>
                  <a:pt x="0" y="1872"/>
                </a:lnTo>
                <a:lnTo>
                  <a:pt x="0" y="1843"/>
                </a:lnTo>
                <a:lnTo>
                  <a:pt x="0" y="1809"/>
                </a:lnTo>
                <a:lnTo>
                  <a:pt x="0" y="1769"/>
                </a:lnTo>
                <a:lnTo>
                  <a:pt x="0" y="1724"/>
                </a:lnTo>
                <a:lnTo>
                  <a:pt x="0" y="1673"/>
                </a:lnTo>
                <a:lnTo>
                  <a:pt x="0" y="1618"/>
                </a:lnTo>
                <a:lnTo>
                  <a:pt x="0" y="1557"/>
                </a:lnTo>
                <a:lnTo>
                  <a:pt x="0" y="1491"/>
                </a:lnTo>
                <a:lnTo>
                  <a:pt x="0" y="1419"/>
                </a:lnTo>
                <a:lnTo>
                  <a:pt x="0" y="1342"/>
                </a:lnTo>
                <a:lnTo>
                  <a:pt x="0" y="1260"/>
                </a:lnTo>
                <a:lnTo>
                  <a:pt x="0" y="1178"/>
                </a:lnTo>
                <a:lnTo>
                  <a:pt x="0" y="1101"/>
                </a:lnTo>
                <a:lnTo>
                  <a:pt x="0" y="1029"/>
                </a:lnTo>
                <a:lnTo>
                  <a:pt x="0" y="963"/>
                </a:lnTo>
                <a:lnTo>
                  <a:pt x="0" y="902"/>
                </a:lnTo>
                <a:lnTo>
                  <a:pt x="0" y="847"/>
                </a:lnTo>
                <a:lnTo>
                  <a:pt x="0" y="796"/>
                </a:lnTo>
                <a:lnTo>
                  <a:pt x="0" y="751"/>
                </a:lnTo>
                <a:lnTo>
                  <a:pt x="0" y="711"/>
                </a:lnTo>
                <a:lnTo>
                  <a:pt x="0" y="677"/>
                </a:lnTo>
                <a:lnTo>
                  <a:pt x="0" y="648"/>
                </a:lnTo>
                <a:lnTo>
                  <a:pt x="0" y="624"/>
                </a:lnTo>
                <a:lnTo>
                  <a:pt x="0" y="605"/>
                </a:lnTo>
                <a:lnTo>
                  <a:pt x="0" y="592"/>
                </a:lnTo>
                <a:lnTo>
                  <a:pt x="0" y="584"/>
                </a:lnTo>
                <a:lnTo>
                  <a:pt x="0" y="582"/>
                </a:lnTo>
                <a:lnTo>
                  <a:pt x="3" y="582"/>
                </a:lnTo>
                <a:lnTo>
                  <a:pt x="10" y="582"/>
                </a:lnTo>
                <a:lnTo>
                  <a:pt x="23" y="582"/>
                </a:lnTo>
                <a:lnTo>
                  <a:pt x="40" y="582"/>
                </a:lnTo>
                <a:lnTo>
                  <a:pt x="63" y="582"/>
                </a:lnTo>
                <a:lnTo>
                  <a:pt x="91" y="582"/>
                </a:lnTo>
                <a:lnTo>
                  <a:pt x="124" y="582"/>
                </a:lnTo>
                <a:lnTo>
                  <a:pt x="162" y="582"/>
                </a:lnTo>
                <a:lnTo>
                  <a:pt x="204" y="582"/>
                </a:lnTo>
                <a:lnTo>
                  <a:pt x="252" y="582"/>
                </a:lnTo>
                <a:lnTo>
                  <a:pt x="305" y="582"/>
                </a:lnTo>
                <a:lnTo>
                  <a:pt x="363" y="582"/>
                </a:lnTo>
                <a:lnTo>
                  <a:pt x="427" y="582"/>
                </a:lnTo>
                <a:lnTo>
                  <a:pt x="495" y="582"/>
                </a:lnTo>
                <a:lnTo>
                  <a:pt x="568" y="582"/>
                </a:lnTo>
                <a:lnTo>
                  <a:pt x="646" y="582"/>
                </a:lnTo>
                <a:lnTo>
                  <a:pt x="724" y="582"/>
                </a:lnTo>
                <a:lnTo>
                  <a:pt x="798" y="582"/>
                </a:lnTo>
                <a:lnTo>
                  <a:pt x="866" y="582"/>
                </a:lnTo>
                <a:lnTo>
                  <a:pt x="929" y="582"/>
                </a:lnTo>
                <a:lnTo>
                  <a:pt x="987" y="582"/>
                </a:lnTo>
                <a:lnTo>
                  <a:pt x="1040" y="582"/>
                </a:lnTo>
                <a:lnTo>
                  <a:pt x="1088" y="582"/>
                </a:lnTo>
                <a:lnTo>
                  <a:pt x="1131" y="582"/>
                </a:lnTo>
                <a:lnTo>
                  <a:pt x="1169" y="582"/>
                </a:lnTo>
                <a:lnTo>
                  <a:pt x="1201" y="582"/>
                </a:lnTo>
                <a:lnTo>
                  <a:pt x="1229" y="582"/>
                </a:lnTo>
                <a:lnTo>
                  <a:pt x="1252" y="582"/>
                </a:lnTo>
                <a:lnTo>
                  <a:pt x="1270" y="582"/>
                </a:lnTo>
                <a:lnTo>
                  <a:pt x="1282" y="582"/>
                </a:lnTo>
                <a:lnTo>
                  <a:pt x="1290" y="582"/>
                </a:lnTo>
                <a:lnTo>
                  <a:pt x="1292" y="582"/>
                </a:lnTo>
                <a:lnTo>
                  <a:pt x="1294" y="581"/>
                </a:lnTo>
                <a:lnTo>
                  <a:pt x="1297" y="578"/>
                </a:lnTo>
                <a:lnTo>
                  <a:pt x="1304" y="572"/>
                </a:lnTo>
                <a:lnTo>
                  <a:pt x="1313" y="565"/>
                </a:lnTo>
                <a:lnTo>
                  <a:pt x="1324" y="556"/>
                </a:lnTo>
                <a:lnTo>
                  <a:pt x="1338" y="545"/>
                </a:lnTo>
                <a:lnTo>
                  <a:pt x="1354" y="532"/>
                </a:lnTo>
                <a:lnTo>
                  <a:pt x="1373" y="517"/>
                </a:lnTo>
                <a:lnTo>
                  <a:pt x="1395" y="500"/>
                </a:lnTo>
                <a:lnTo>
                  <a:pt x="1419" y="481"/>
                </a:lnTo>
                <a:lnTo>
                  <a:pt x="1445" y="459"/>
                </a:lnTo>
                <a:lnTo>
                  <a:pt x="1474" y="436"/>
                </a:lnTo>
                <a:lnTo>
                  <a:pt x="1506" y="411"/>
                </a:lnTo>
                <a:lnTo>
                  <a:pt x="1540" y="384"/>
                </a:lnTo>
                <a:lnTo>
                  <a:pt x="1576" y="354"/>
                </a:lnTo>
                <a:lnTo>
                  <a:pt x="1615" y="323"/>
                </a:lnTo>
                <a:lnTo>
                  <a:pt x="1655" y="292"/>
                </a:lnTo>
                <a:lnTo>
                  <a:pt x="1694" y="263"/>
                </a:lnTo>
                <a:lnTo>
                  <a:pt x="1731" y="235"/>
                </a:lnTo>
                <a:lnTo>
                  <a:pt x="1767" y="210"/>
                </a:lnTo>
                <a:lnTo>
                  <a:pt x="1802" y="187"/>
                </a:lnTo>
                <a:lnTo>
                  <a:pt x="1835" y="166"/>
                </a:lnTo>
                <a:lnTo>
                  <a:pt x="1867" y="146"/>
                </a:lnTo>
                <a:lnTo>
                  <a:pt x="1898" y="129"/>
                </a:lnTo>
                <a:lnTo>
                  <a:pt x="1928" y="114"/>
                </a:lnTo>
                <a:lnTo>
                  <a:pt x="1956" y="101"/>
                </a:lnTo>
                <a:lnTo>
                  <a:pt x="1983" y="90"/>
                </a:lnTo>
                <a:lnTo>
                  <a:pt x="2009" y="81"/>
                </a:lnTo>
                <a:lnTo>
                  <a:pt x="2034" y="74"/>
                </a:lnTo>
                <a:lnTo>
                  <a:pt x="2057" y="69"/>
                </a:lnTo>
                <a:lnTo>
                  <a:pt x="2079" y="66"/>
                </a:lnTo>
                <a:lnTo>
                  <a:pt x="2100" y="65"/>
                </a:lnTo>
                <a:lnTo>
                  <a:pt x="2120" y="65"/>
                </a:lnTo>
                <a:lnTo>
                  <a:pt x="2138" y="65"/>
                </a:lnTo>
                <a:lnTo>
                  <a:pt x="2155" y="65"/>
                </a:lnTo>
                <a:lnTo>
                  <a:pt x="2171" y="65"/>
                </a:lnTo>
                <a:lnTo>
                  <a:pt x="2185" y="65"/>
                </a:lnTo>
                <a:lnTo>
                  <a:pt x="2198" y="65"/>
                </a:lnTo>
                <a:lnTo>
                  <a:pt x="2210" y="65"/>
                </a:lnTo>
                <a:lnTo>
                  <a:pt x="2221" y="65"/>
                </a:lnTo>
                <a:lnTo>
                  <a:pt x="2231" y="65"/>
                </a:lnTo>
                <a:lnTo>
                  <a:pt x="2239" y="65"/>
                </a:lnTo>
                <a:lnTo>
                  <a:pt x="2246" y="65"/>
                </a:lnTo>
                <a:lnTo>
                  <a:pt x="2251" y="65"/>
                </a:lnTo>
                <a:lnTo>
                  <a:pt x="2256" y="65"/>
                </a:lnTo>
                <a:lnTo>
                  <a:pt x="2259" y="65"/>
                </a:lnTo>
                <a:lnTo>
                  <a:pt x="2261" y="65"/>
                </a:lnTo>
                <a:lnTo>
                  <a:pt x="2262" y="65"/>
                </a:lnTo>
                <a:lnTo>
                  <a:pt x="2262" y="64"/>
                </a:lnTo>
                <a:lnTo>
                  <a:pt x="2262" y="63"/>
                </a:lnTo>
                <a:lnTo>
                  <a:pt x="2262" y="61"/>
                </a:lnTo>
                <a:lnTo>
                  <a:pt x="2262" y="60"/>
                </a:lnTo>
                <a:lnTo>
                  <a:pt x="2262" y="58"/>
                </a:lnTo>
                <a:lnTo>
                  <a:pt x="2262" y="57"/>
                </a:lnTo>
                <a:lnTo>
                  <a:pt x="2262" y="54"/>
                </a:lnTo>
                <a:lnTo>
                  <a:pt x="2262" y="52"/>
                </a:lnTo>
                <a:lnTo>
                  <a:pt x="2262" y="49"/>
                </a:lnTo>
                <a:lnTo>
                  <a:pt x="2262" y="46"/>
                </a:lnTo>
                <a:lnTo>
                  <a:pt x="2262" y="43"/>
                </a:lnTo>
                <a:lnTo>
                  <a:pt x="2262" y="40"/>
                </a:lnTo>
                <a:lnTo>
                  <a:pt x="2262" y="36"/>
                </a:lnTo>
                <a:lnTo>
                  <a:pt x="2262" y="32"/>
                </a:lnTo>
                <a:lnTo>
                  <a:pt x="2262" y="28"/>
                </a:lnTo>
                <a:lnTo>
                  <a:pt x="2262" y="25"/>
                </a:lnTo>
                <a:lnTo>
                  <a:pt x="2262" y="21"/>
                </a:lnTo>
                <a:lnTo>
                  <a:pt x="2262" y="18"/>
                </a:lnTo>
                <a:lnTo>
                  <a:pt x="2262" y="15"/>
                </a:lnTo>
                <a:lnTo>
                  <a:pt x="2262" y="13"/>
                </a:lnTo>
                <a:lnTo>
                  <a:pt x="2262" y="10"/>
                </a:lnTo>
                <a:lnTo>
                  <a:pt x="2262" y="8"/>
                </a:lnTo>
                <a:lnTo>
                  <a:pt x="2262" y="6"/>
                </a:lnTo>
                <a:lnTo>
                  <a:pt x="2262" y="5"/>
                </a:lnTo>
                <a:lnTo>
                  <a:pt x="2262" y="3"/>
                </a:lnTo>
                <a:lnTo>
                  <a:pt x="2262" y="2"/>
                </a:lnTo>
                <a:lnTo>
                  <a:pt x="2262" y="1"/>
                </a:lnTo>
                <a:lnTo>
                  <a:pt x="2262" y="0"/>
                </a:lnTo>
                <a:lnTo>
                  <a:pt x="2262" y="1"/>
                </a:lnTo>
                <a:lnTo>
                  <a:pt x="2264" y="2"/>
                </a:lnTo>
                <a:lnTo>
                  <a:pt x="2267" y="5"/>
                </a:lnTo>
                <a:lnTo>
                  <a:pt x="2272" y="8"/>
                </a:lnTo>
                <a:lnTo>
                  <a:pt x="2277" y="13"/>
                </a:lnTo>
                <a:lnTo>
                  <a:pt x="2284" y="18"/>
                </a:lnTo>
                <a:lnTo>
                  <a:pt x="2292" y="25"/>
                </a:lnTo>
                <a:lnTo>
                  <a:pt x="2302" y="32"/>
                </a:lnTo>
                <a:lnTo>
                  <a:pt x="2313" y="41"/>
                </a:lnTo>
                <a:lnTo>
                  <a:pt x="2325" y="50"/>
                </a:lnTo>
                <a:lnTo>
                  <a:pt x="2338" y="61"/>
                </a:lnTo>
                <a:lnTo>
                  <a:pt x="2352" y="73"/>
                </a:lnTo>
                <a:lnTo>
                  <a:pt x="2368" y="85"/>
                </a:lnTo>
                <a:lnTo>
                  <a:pt x="2385" y="99"/>
                </a:lnTo>
                <a:lnTo>
                  <a:pt x="2404" y="114"/>
                </a:lnTo>
                <a:lnTo>
                  <a:pt x="2423" y="129"/>
                </a:lnTo>
                <a:lnTo>
                  <a:pt x="2443" y="145"/>
                </a:lnTo>
                <a:lnTo>
                  <a:pt x="2461" y="160"/>
                </a:lnTo>
                <a:lnTo>
                  <a:pt x="2478" y="173"/>
                </a:lnTo>
                <a:lnTo>
                  <a:pt x="2494" y="186"/>
                </a:lnTo>
                <a:lnTo>
                  <a:pt x="2508" y="197"/>
                </a:lnTo>
                <a:lnTo>
                  <a:pt x="2522" y="208"/>
                </a:lnTo>
                <a:lnTo>
                  <a:pt x="2534" y="218"/>
                </a:lnTo>
                <a:lnTo>
                  <a:pt x="2544" y="226"/>
                </a:lnTo>
                <a:lnTo>
                  <a:pt x="2554" y="234"/>
                </a:lnTo>
                <a:lnTo>
                  <a:pt x="2562" y="240"/>
                </a:lnTo>
                <a:lnTo>
                  <a:pt x="2569" y="246"/>
                </a:lnTo>
                <a:lnTo>
                  <a:pt x="2575" y="250"/>
                </a:lnTo>
                <a:lnTo>
                  <a:pt x="2579" y="254"/>
                </a:lnTo>
                <a:lnTo>
                  <a:pt x="2582" y="256"/>
                </a:lnTo>
                <a:lnTo>
                  <a:pt x="2584" y="258"/>
                </a:lnTo>
                <a:lnTo>
                  <a:pt x="2585" y="258"/>
                </a:lnTo>
                <a:lnTo>
                  <a:pt x="2584" y="259"/>
                </a:lnTo>
                <a:lnTo>
                  <a:pt x="2582" y="260"/>
                </a:lnTo>
                <a:lnTo>
                  <a:pt x="2579" y="263"/>
                </a:lnTo>
                <a:lnTo>
                  <a:pt x="2575" y="267"/>
                </a:lnTo>
                <a:lnTo>
                  <a:pt x="2569" y="271"/>
                </a:lnTo>
                <a:lnTo>
                  <a:pt x="2562" y="277"/>
                </a:lnTo>
                <a:lnTo>
                  <a:pt x="2554" y="283"/>
                </a:lnTo>
                <a:lnTo>
                  <a:pt x="2544" y="291"/>
                </a:lnTo>
                <a:lnTo>
                  <a:pt x="2534" y="299"/>
                </a:lnTo>
                <a:lnTo>
                  <a:pt x="2522" y="309"/>
                </a:lnTo>
                <a:lnTo>
                  <a:pt x="2508" y="320"/>
                </a:lnTo>
                <a:lnTo>
                  <a:pt x="2494" y="331"/>
                </a:lnTo>
                <a:lnTo>
                  <a:pt x="2478" y="344"/>
                </a:lnTo>
                <a:lnTo>
                  <a:pt x="2461" y="357"/>
                </a:lnTo>
                <a:lnTo>
                  <a:pt x="2443" y="372"/>
                </a:lnTo>
                <a:lnTo>
                  <a:pt x="2423" y="388"/>
                </a:lnTo>
                <a:lnTo>
                  <a:pt x="2404" y="403"/>
                </a:lnTo>
                <a:lnTo>
                  <a:pt x="2385" y="418"/>
                </a:lnTo>
                <a:lnTo>
                  <a:pt x="2368" y="432"/>
                </a:lnTo>
                <a:lnTo>
                  <a:pt x="2352" y="444"/>
                </a:lnTo>
                <a:lnTo>
                  <a:pt x="2338" y="456"/>
                </a:lnTo>
                <a:lnTo>
                  <a:pt x="2325" y="466"/>
                </a:lnTo>
                <a:lnTo>
                  <a:pt x="2313" y="476"/>
                </a:lnTo>
                <a:lnTo>
                  <a:pt x="2302" y="485"/>
                </a:lnTo>
                <a:lnTo>
                  <a:pt x="2292" y="492"/>
                </a:lnTo>
                <a:lnTo>
                  <a:pt x="2284" y="499"/>
                </a:lnTo>
                <a:lnTo>
                  <a:pt x="2277" y="504"/>
                </a:lnTo>
                <a:lnTo>
                  <a:pt x="2272" y="509"/>
                </a:lnTo>
                <a:lnTo>
                  <a:pt x="2267" y="512"/>
                </a:lnTo>
                <a:lnTo>
                  <a:pt x="2264" y="515"/>
                </a:lnTo>
                <a:lnTo>
                  <a:pt x="2262" y="516"/>
                </a:lnTo>
                <a:lnTo>
                  <a:pt x="2262" y="517"/>
                </a:lnTo>
                <a:lnTo>
                  <a:pt x="2262" y="516"/>
                </a:lnTo>
                <a:lnTo>
                  <a:pt x="2262" y="515"/>
                </a:lnTo>
                <a:lnTo>
                  <a:pt x="2262" y="514"/>
                </a:lnTo>
                <a:lnTo>
                  <a:pt x="2262" y="512"/>
                </a:lnTo>
                <a:lnTo>
                  <a:pt x="2262" y="511"/>
                </a:lnTo>
                <a:lnTo>
                  <a:pt x="2262" y="509"/>
                </a:lnTo>
                <a:lnTo>
                  <a:pt x="2262" y="507"/>
                </a:lnTo>
                <a:lnTo>
                  <a:pt x="2262" y="504"/>
                </a:lnTo>
                <a:lnTo>
                  <a:pt x="2262" y="502"/>
                </a:lnTo>
                <a:lnTo>
                  <a:pt x="2262" y="499"/>
                </a:lnTo>
                <a:lnTo>
                  <a:pt x="2262" y="496"/>
                </a:lnTo>
                <a:lnTo>
                  <a:pt x="2262" y="492"/>
                </a:lnTo>
                <a:lnTo>
                  <a:pt x="2262" y="489"/>
                </a:lnTo>
                <a:lnTo>
                  <a:pt x="2262" y="485"/>
                </a:lnTo>
                <a:lnTo>
                  <a:pt x="2262" y="481"/>
                </a:lnTo>
                <a:lnTo>
                  <a:pt x="2262" y="477"/>
                </a:lnTo>
                <a:lnTo>
                  <a:pt x="2262" y="474"/>
                </a:lnTo>
                <a:lnTo>
                  <a:pt x="2262" y="470"/>
                </a:lnTo>
                <a:lnTo>
                  <a:pt x="2262" y="468"/>
                </a:lnTo>
                <a:lnTo>
                  <a:pt x="2262" y="465"/>
                </a:lnTo>
                <a:lnTo>
                  <a:pt x="2262" y="463"/>
                </a:lnTo>
                <a:lnTo>
                  <a:pt x="2262" y="460"/>
                </a:lnTo>
                <a:lnTo>
                  <a:pt x="2262" y="458"/>
                </a:lnTo>
                <a:lnTo>
                  <a:pt x="2262" y="457"/>
                </a:lnTo>
                <a:lnTo>
                  <a:pt x="2262" y="455"/>
                </a:lnTo>
                <a:lnTo>
                  <a:pt x="2262" y="454"/>
                </a:lnTo>
                <a:lnTo>
                  <a:pt x="2262" y="453"/>
                </a:lnTo>
                <a:lnTo>
                  <a:pt x="2262" y="452"/>
                </a:lnTo>
                <a:lnTo>
                  <a:pt x="2261" y="452"/>
                </a:lnTo>
                <a:lnTo>
                  <a:pt x="2259" y="452"/>
                </a:lnTo>
                <a:lnTo>
                  <a:pt x="2256" y="452"/>
                </a:lnTo>
                <a:lnTo>
                  <a:pt x="2251" y="452"/>
                </a:lnTo>
                <a:lnTo>
                  <a:pt x="2246" y="452"/>
                </a:lnTo>
                <a:lnTo>
                  <a:pt x="2239" y="452"/>
                </a:lnTo>
                <a:lnTo>
                  <a:pt x="2231" y="452"/>
                </a:lnTo>
                <a:lnTo>
                  <a:pt x="2221" y="452"/>
                </a:lnTo>
                <a:lnTo>
                  <a:pt x="2210" y="452"/>
                </a:lnTo>
                <a:lnTo>
                  <a:pt x="2198" y="452"/>
                </a:lnTo>
                <a:lnTo>
                  <a:pt x="2185" y="452"/>
                </a:lnTo>
                <a:lnTo>
                  <a:pt x="2171" y="452"/>
                </a:lnTo>
                <a:lnTo>
                  <a:pt x="2155" y="452"/>
                </a:lnTo>
                <a:lnTo>
                  <a:pt x="2138" y="452"/>
                </a:lnTo>
                <a:lnTo>
                  <a:pt x="2120" y="452"/>
                </a:lnTo>
                <a:lnTo>
                  <a:pt x="2100" y="452"/>
                </a:lnTo>
                <a:lnTo>
                  <a:pt x="2079" y="453"/>
                </a:lnTo>
                <a:lnTo>
                  <a:pt x="2057" y="456"/>
                </a:lnTo>
                <a:lnTo>
                  <a:pt x="2034" y="460"/>
                </a:lnTo>
                <a:lnTo>
                  <a:pt x="2009" y="466"/>
                </a:lnTo>
                <a:lnTo>
                  <a:pt x="1983" y="474"/>
                </a:lnTo>
                <a:lnTo>
                  <a:pt x="1956" y="484"/>
                </a:lnTo>
                <a:lnTo>
                  <a:pt x="1928" y="496"/>
                </a:lnTo>
                <a:lnTo>
                  <a:pt x="1898" y="509"/>
                </a:lnTo>
                <a:lnTo>
                  <a:pt x="1867" y="524"/>
                </a:lnTo>
                <a:lnTo>
                  <a:pt x="1835" y="541"/>
                </a:lnTo>
                <a:lnTo>
                  <a:pt x="1802" y="559"/>
                </a:lnTo>
                <a:lnTo>
                  <a:pt x="1767" y="580"/>
                </a:lnTo>
                <a:lnTo>
                  <a:pt x="1731" y="602"/>
                </a:lnTo>
                <a:lnTo>
                  <a:pt x="1694" y="625"/>
                </a:lnTo>
                <a:lnTo>
                  <a:pt x="1655" y="651"/>
                </a:lnTo>
                <a:lnTo>
                  <a:pt x="1615" y="678"/>
                </a:lnTo>
                <a:lnTo>
                  <a:pt x="1576" y="706"/>
                </a:lnTo>
                <a:lnTo>
                  <a:pt x="1540" y="731"/>
                </a:lnTo>
                <a:lnTo>
                  <a:pt x="1506" y="755"/>
                </a:lnTo>
                <a:lnTo>
                  <a:pt x="1474" y="777"/>
                </a:lnTo>
                <a:lnTo>
                  <a:pt x="1445" y="798"/>
                </a:lnTo>
                <a:lnTo>
                  <a:pt x="1419" y="816"/>
                </a:lnTo>
                <a:lnTo>
                  <a:pt x="1395" y="833"/>
                </a:lnTo>
                <a:lnTo>
                  <a:pt x="1373" y="848"/>
                </a:lnTo>
                <a:lnTo>
                  <a:pt x="1354" y="861"/>
                </a:lnTo>
                <a:lnTo>
                  <a:pt x="1338" y="873"/>
                </a:lnTo>
                <a:lnTo>
                  <a:pt x="1324" y="883"/>
                </a:lnTo>
                <a:lnTo>
                  <a:pt x="1313" y="890"/>
                </a:lnTo>
                <a:lnTo>
                  <a:pt x="1304" y="897"/>
                </a:lnTo>
                <a:lnTo>
                  <a:pt x="1297" y="901"/>
                </a:lnTo>
                <a:lnTo>
                  <a:pt x="1294" y="904"/>
                </a:lnTo>
                <a:lnTo>
                  <a:pt x="1292" y="905"/>
                </a:lnTo>
                <a:lnTo>
                  <a:pt x="1295" y="905"/>
                </a:lnTo>
                <a:lnTo>
                  <a:pt x="1302" y="905"/>
                </a:lnTo>
                <a:lnTo>
                  <a:pt x="1315" y="905"/>
                </a:lnTo>
                <a:lnTo>
                  <a:pt x="1333" y="905"/>
                </a:lnTo>
                <a:lnTo>
                  <a:pt x="1355" y="905"/>
                </a:lnTo>
                <a:lnTo>
                  <a:pt x="1383" y="905"/>
                </a:lnTo>
                <a:lnTo>
                  <a:pt x="1416" y="905"/>
                </a:lnTo>
                <a:lnTo>
                  <a:pt x="1454" y="905"/>
                </a:lnTo>
                <a:lnTo>
                  <a:pt x="1497" y="905"/>
                </a:lnTo>
                <a:lnTo>
                  <a:pt x="1545" y="905"/>
                </a:lnTo>
                <a:lnTo>
                  <a:pt x="1598" y="905"/>
                </a:lnTo>
                <a:lnTo>
                  <a:pt x="1656" y="905"/>
                </a:lnTo>
                <a:lnTo>
                  <a:pt x="1719" y="905"/>
                </a:lnTo>
                <a:lnTo>
                  <a:pt x="1787" y="905"/>
                </a:lnTo>
                <a:lnTo>
                  <a:pt x="1860" y="905"/>
                </a:lnTo>
                <a:lnTo>
                  <a:pt x="1938" y="905"/>
                </a:lnTo>
                <a:lnTo>
                  <a:pt x="2017" y="905"/>
                </a:lnTo>
                <a:lnTo>
                  <a:pt x="2090" y="905"/>
                </a:lnTo>
                <a:lnTo>
                  <a:pt x="2158" y="905"/>
                </a:lnTo>
                <a:lnTo>
                  <a:pt x="2221" y="905"/>
                </a:lnTo>
                <a:lnTo>
                  <a:pt x="2279" y="905"/>
                </a:lnTo>
                <a:lnTo>
                  <a:pt x="2332" y="905"/>
                </a:lnTo>
                <a:lnTo>
                  <a:pt x="2380" y="905"/>
                </a:lnTo>
                <a:lnTo>
                  <a:pt x="2423" y="905"/>
                </a:lnTo>
                <a:lnTo>
                  <a:pt x="2461" y="905"/>
                </a:lnTo>
                <a:lnTo>
                  <a:pt x="2494" y="905"/>
                </a:lnTo>
                <a:lnTo>
                  <a:pt x="2522" y="905"/>
                </a:lnTo>
                <a:lnTo>
                  <a:pt x="2544" y="905"/>
                </a:lnTo>
                <a:lnTo>
                  <a:pt x="2562" y="905"/>
                </a:lnTo>
                <a:lnTo>
                  <a:pt x="2575" y="905"/>
                </a:lnTo>
                <a:lnTo>
                  <a:pt x="2582" y="905"/>
                </a:lnTo>
                <a:lnTo>
                  <a:pt x="2585" y="905"/>
                </a:lnTo>
                <a:lnTo>
                  <a:pt x="2585" y="904"/>
                </a:lnTo>
                <a:lnTo>
                  <a:pt x="2585" y="903"/>
                </a:lnTo>
                <a:lnTo>
                  <a:pt x="2585" y="901"/>
                </a:lnTo>
                <a:lnTo>
                  <a:pt x="2585" y="900"/>
                </a:lnTo>
                <a:lnTo>
                  <a:pt x="2585" y="898"/>
                </a:lnTo>
                <a:lnTo>
                  <a:pt x="2585" y="897"/>
                </a:lnTo>
                <a:lnTo>
                  <a:pt x="2585" y="894"/>
                </a:lnTo>
                <a:lnTo>
                  <a:pt x="2585" y="892"/>
                </a:lnTo>
                <a:lnTo>
                  <a:pt x="2585" y="889"/>
                </a:lnTo>
                <a:lnTo>
                  <a:pt x="2585" y="886"/>
                </a:lnTo>
                <a:lnTo>
                  <a:pt x="2585" y="883"/>
                </a:lnTo>
                <a:lnTo>
                  <a:pt x="2585" y="880"/>
                </a:lnTo>
                <a:lnTo>
                  <a:pt x="2585" y="876"/>
                </a:lnTo>
                <a:lnTo>
                  <a:pt x="2585" y="872"/>
                </a:lnTo>
                <a:lnTo>
                  <a:pt x="2585" y="868"/>
                </a:lnTo>
                <a:lnTo>
                  <a:pt x="2585" y="865"/>
                </a:lnTo>
                <a:lnTo>
                  <a:pt x="2585" y="861"/>
                </a:lnTo>
                <a:lnTo>
                  <a:pt x="2585" y="858"/>
                </a:lnTo>
                <a:lnTo>
                  <a:pt x="2585" y="855"/>
                </a:lnTo>
                <a:lnTo>
                  <a:pt x="2585" y="853"/>
                </a:lnTo>
                <a:lnTo>
                  <a:pt x="2585" y="850"/>
                </a:lnTo>
                <a:lnTo>
                  <a:pt x="2585" y="848"/>
                </a:lnTo>
                <a:lnTo>
                  <a:pt x="2585" y="846"/>
                </a:lnTo>
                <a:lnTo>
                  <a:pt x="2585" y="845"/>
                </a:lnTo>
                <a:lnTo>
                  <a:pt x="2585" y="843"/>
                </a:lnTo>
                <a:lnTo>
                  <a:pt x="2585" y="842"/>
                </a:lnTo>
                <a:lnTo>
                  <a:pt x="2585" y="841"/>
                </a:lnTo>
                <a:lnTo>
                  <a:pt x="2585" y="840"/>
                </a:lnTo>
                <a:lnTo>
                  <a:pt x="2586" y="841"/>
                </a:lnTo>
                <a:lnTo>
                  <a:pt x="2589" y="843"/>
                </a:lnTo>
                <a:lnTo>
                  <a:pt x="2595" y="847"/>
                </a:lnTo>
                <a:lnTo>
                  <a:pt x="2602" y="853"/>
                </a:lnTo>
                <a:lnTo>
                  <a:pt x="2612" y="861"/>
                </a:lnTo>
                <a:lnTo>
                  <a:pt x="2624" y="870"/>
                </a:lnTo>
                <a:lnTo>
                  <a:pt x="2639" y="880"/>
                </a:lnTo>
                <a:lnTo>
                  <a:pt x="2655" y="893"/>
                </a:lnTo>
                <a:lnTo>
                  <a:pt x="2674" y="906"/>
                </a:lnTo>
                <a:lnTo>
                  <a:pt x="2695" y="922"/>
                </a:lnTo>
                <a:lnTo>
                  <a:pt x="2718" y="939"/>
                </a:lnTo>
                <a:lnTo>
                  <a:pt x="2744" y="958"/>
                </a:lnTo>
                <a:lnTo>
                  <a:pt x="2771" y="979"/>
                </a:lnTo>
                <a:lnTo>
                  <a:pt x="2801" y="1001"/>
                </a:lnTo>
                <a:lnTo>
                  <a:pt x="2833" y="1025"/>
                </a:lnTo>
                <a:lnTo>
                  <a:pt x="2867" y="1050"/>
                </a:lnTo>
                <a:lnTo>
                  <a:pt x="2902" y="1075"/>
                </a:lnTo>
                <a:lnTo>
                  <a:pt x="2934" y="1099"/>
                </a:lnTo>
                <a:lnTo>
                  <a:pt x="2963" y="1121"/>
                </a:lnTo>
                <a:lnTo>
                  <a:pt x="2991" y="1142"/>
                </a:lnTo>
                <a:lnTo>
                  <a:pt x="3016" y="1161"/>
                </a:lnTo>
                <a:lnTo>
                  <a:pt x="3040" y="1178"/>
                </a:lnTo>
                <a:lnTo>
                  <a:pt x="3061" y="1194"/>
                </a:lnTo>
                <a:lnTo>
                  <a:pt x="3079" y="1208"/>
                </a:lnTo>
                <a:lnTo>
                  <a:pt x="3096" y="1220"/>
                </a:lnTo>
                <a:lnTo>
                  <a:pt x="3110" y="1230"/>
                </a:lnTo>
                <a:lnTo>
                  <a:pt x="3122" y="1239"/>
                </a:lnTo>
                <a:lnTo>
                  <a:pt x="3132" y="1247"/>
                </a:lnTo>
                <a:lnTo>
                  <a:pt x="3140" y="1253"/>
                </a:lnTo>
                <a:lnTo>
                  <a:pt x="3146" y="1257"/>
                </a:lnTo>
                <a:lnTo>
                  <a:pt x="3149" y="1259"/>
                </a:lnTo>
                <a:lnTo>
                  <a:pt x="3150" y="1260"/>
                </a:lnTo>
                <a:lnTo>
                  <a:pt x="3149" y="1261"/>
                </a:lnTo>
                <a:lnTo>
                  <a:pt x="3146" y="1263"/>
                </a:lnTo>
                <a:lnTo>
                  <a:pt x="3140" y="1267"/>
                </a:lnTo>
                <a:lnTo>
                  <a:pt x="3132" y="1273"/>
                </a:lnTo>
                <a:lnTo>
                  <a:pt x="3122" y="1281"/>
                </a:lnTo>
                <a:lnTo>
                  <a:pt x="3110" y="1290"/>
                </a:lnTo>
                <a:lnTo>
                  <a:pt x="3096" y="1300"/>
                </a:lnTo>
                <a:lnTo>
                  <a:pt x="3079" y="1313"/>
                </a:lnTo>
                <a:lnTo>
                  <a:pt x="3061" y="1326"/>
                </a:lnTo>
                <a:lnTo>
                  <a:pt x="3040" y="1342"/>
                </a:lnTo>
                <a:lnTo>
                  <a:pt x="3016" y="1359"/>
                </a:lnTo>
                <a:lnTo>
                  <a:pt x="2991" y="1378"/>
                </a:lnTo>
                <a:lnTo>
                  <a:pt x="2963" y="1399"/>
                </a:lnTo>
                <a:lnTo>
                  <a:pt x="2934" y="1421"/>
                </a:lnTo>
                <a:lnTo>
                  <a:pt x="2902" y="1445"/>
                </a:lnTo>
                <a:lnTo>
                  <a:pt x="2867" y="1470"/>
                </a:lnTo>
                <a:lnTo>
                  <a:pt x="2833" y="1495"/>
                </a:lnTo>
                <a:lnTo>
                  <a:pt x="2801" y="1519"/>
                </a:lnTo>
                <a:lnTo>
                  <a:pt x="2771" y="1541"/>
                </a:lnTo>
                <a:lnTo>
                  <a:pt x="2744" y="1562"/>
                </a:lnTo>
                <a:lnTo>
                  <a:pt x="2718" y="1581"/>
                </a:lnTo>
                <a:lnTo>
                  <a:pt x="2695" y="1598"/>
                </a:lnTo>
                <a:lnTo>
                  <a:pt x="2674" y="1614"/>
                </a:lnTo>
                <a:lnTo>
                  <a:pt x="2655" y="1628"/>
                </a:lnTo>
                <a:lnTo>
                  <a:pt x="2639" y="1640"/>
                </a:lnTo>
                <a:lnTo>
                  <a:pt x="2624" y="1650"/>
                </a:lnTo>
                <a:lnTo>
                  <a:pt x="2612" y="1660"/>
                </a:lnTo>
                <a:lnTo>
                  <a:pt x="2602" y="1667"/>
                </a:lnTo>
                <a:lnTo>
                  <a:pt x="2595" y="1673"/>
                </a:lnTo>
                <a:lnTo>
                  <a:pt x="2589" y="1677"/>
                </a:lnTo>
                <a:lnTo>
                  <a:pt x="2586" y="1679"/>
                </a:lnTo>
                <a:lnTo>
                  <a:pt x="2585" y="1680"/>
                </a:lnTo>
                <a:lnTo>
                  <a:pt x="2585" y="1679"/>
                </a:lnTo>
                <a:lnTo>
                  <a:pt x="2585" y="1678"/>
                </a:lnTo>
                <a:lnTo>
                  <a:pt x="2585" y="1677"/>
                </a:lnTo>
                <a:lnTo>
                  <a:pt x="2585" y="1675"/>
                </a:lnTo>
                <a:lnTo>
                  <a:pt x="2585" y="1674"/>
                </a:lnTo>
                <a:lnTo>
                  <a:pt x="2585" y="1672"/>
                </a:lnTo>
                <a:lnTo>
                  <a:pt x="2585" y="1670"/>
                </a:lnTo>
                <a:lnTo>
                  <a:pt x="2585" y="1667"/>
                </a:lnTo>
                <a:lnTo>
                  <a:pt x="2585" y="1665"/>
                </a:lnTo>
                <a:lnTo>
                  <a:pt x="2585" y="1662"/>
                </a:lnTo>
                <a:lnTo>
                  <a:pt x="2585" y="1659"/>
                </a:lnTo>
                <a:lnTo>
                  <a:pt x="2585" y="1655"/>
                </a:lnTo>
                <a:lnTo>
                  <a:pt x="2585" y="1652"/>
                </a:lnTo>
                <a:lnTo>
                  <a:pt x="2585" y="1648"/>
                </a:lnTo>
                <a:lnTo>
                  <a:pt x="2585" y="1644"/>
                </a:lnTo>
                <a:lnTo>
                  <a:pt x="2585" y="1640"/>
                </a:lnTo>
                <a:lnTo>
                  <a:pt x="2585" y="1637"/>
                </a:lnTo>
                <a:lnTo>
                  <a:pt x="2585" y="1634"/>
                </a:lnTo>
                <a:lnTo>
                  <a:pt x="2585" y="1631"/>
                </a:lnTo>
                <a:lnTo>
                  <a:pt x="2585" y="1628"/>
                </a:lnTo>
                <a:lnTo>
                  <a:pt x="2585" y="1626"/>
                </a:lnTo>
                <a:lnTo>
                  <a:pt x="2585" y="1623"/>
                </a:lnTo>
                <a:lnTo>
                  <a:pt x="2585" y="1622"/>
                </a:lnTo>
                <a:lnTo>
                  <a:pt x="2585" y="1620"/>
                </a:lnTo>
                <a:lnTo>
                  <a:pt x="2585" y="1619"/>
                </a:lnTo>
                <a:lnTo>
                  <a:pt x="2585" y="1617"/>
                </a:lnTo>
                <a:lnTo>
                  <a:pt x="2585" y="1616"/>
                </a:lnTo>
                <a:lnTo>
                  <a:pt x="2585" y="1615"/>
                </a:lnTo>
                <a:lnTo>
                  <a:pt x="2582" y="1615"/>
                </a:lnTo>
                <a:lnTo>
                  <a:pt x="2575" y="1615"/>
                </a:lnTo>
                <a:lnTo>
                  <a:pt x="2562" y="1615"/>
                </a:lnTo>
                <a:lnTo>
                  <a:pt x="2544" y="1615"/>
                </a:lnTo>
                <a:lnTo>
                  <a:pt x="2522" y="1615"/>
                </a:lnTo>
                <a:lnTo>
                  <a:pt x="2494" y="1615"/>
                </a:lnTo>
                <a:lnTo>
                  <a:pt x="2461" y="1615"/>
                </a:lnTo>
                <a:lnTo>
                  <a:pt x="2423" y="1615"/>
                </a:lnTo>
                <a:lnTo>
                  <a:pt x="2380" y="1615"/>
                </a:lnTo>
                <a:lnTo>
                  <a:pt x="2332" y="1615"/>
                </a:lnTo>
                <a:lnTo>
                  <a:pt x="2279" y="1615"/>
                </a:lnTo>
                <a:lnTo>
                  <a:pt x="2221" y="1615"/>
                </a:lnTo>
                <a:lnTo>
                  <a:pt x="2158" y="1615"/>
                </a:lnTo>
                <a:lnTo>
                  <a:pt x="2090" y="1615"/>
                </a:lnTo>
                <a:lnTo>
                  <a:pt x="2017" y="1615"/>
                </a:lnTo>
                <a:lnTo>
                  <a:pt x="1938" y="1615"/>
                </a:lnTo>
                <a:lnTo>
                  <a:pt x="1860" y="1615"/>
                </a:lnTo>
                <a:lnTo>
                  <a:pt x="1787" y="1615"/>
                </a:lnTo>
                <a:lnTo>
                  <a:pt x="1719" y="1615"/>
                </a:lnTo>
                <a:lnTo>
                  <a:pt x="1656" y="1615"/>
                </a:lnTo>
                <a:lnTo>
                  <a:pt x="1598" y="1615"/>
                </a:lnTo>
                <a:lnTo>
                  <a:pt x="1545" y="1615"/>
                </a:lnTo>
                <a:lnTo>
                  <a:pt x="1497" y="1615"/>
                </a:lnTo>
                <a:lnTo>
                  <a:pt x="1454" y="1615"/>
                </a:lnTo>
                <a:lnTo>
                  <a:pt x="1416" y="1615"/>
                </a:lnTo>
                <a:lnTo>
                  <a:pt x="1383" y="1615"/>
                </a:lnTo>
                <a:lnTo>
                  <a:pt x="1355" y="1615"/>
                </a:lnTo>
                <a:lnTo>
                  <a:pt x="1333" y="1615"/>
                </a:lnTo>
                <a:lnTo>
                  <a:pt x="1315" y="1615"/>
                </a:lnTo>
                <a:lnTo>
                  <a:pt x="1302" y="1615"/>
                </a:lnTo>
                <a:lnTo>
                  <a:pt x="1295" y="1615"/>
                </a:lnTo>
                <a:lnTo>
                  <a:pt x="1292" y="1615"/>
                </a:lnTo>
                <a:lnTo>
                  <a:pt x="1294" y="1616"/>
                </a:lnTo>
                <a:lnTo>
                  <a:pt x="1297" y="1619"/>
                </a:lnTo>
                <a:lnTo>
                  <a:pt x="1304" y="1623"/>
                </a:lnTo>
                <a:lnTo>
                  <a:pt x="1313" y="1630"/>
                </a:lnTo>
                <a:lnTo>
                  <a:pt x="1324" y="1637"/>
                </a:lnTo>
                <a:lnTo>
                  <a:pt x="1338" y="1647"/>
                </a:lnTo>
                <a:lnTo>
                  <a:pt x="1354" y="1659"/>
                </a:lnTo>
                <a:lnTo>
                  <a:pt x="1373" y="1672"/>
                </a:lnTo>
                <a:lnTo>
                  <a:pt x="1395" y="1687"/>
                </a:lnTo>
                <a:lnTo>
                  <a:pt x="1419" y="1704"/>
                </a:lnTo>
                <a:lnTo>
                  <a:pt x="1445" y="1722"/>
                </a:lnTo>
                <a:lnTo>
                  <a:pt x="1474" y="1743"/>
                </a:lnTo>
                <a:lnTo>
                  <a:pt x="1506" y="1765"/>
                </a:lnTo>
                <a:lnTo>
                  <a:pt x="1540" y="1789"/>
                </a:lnTo>
                <a:lnTo>
                  <a:pt x="1576" y="1814"/>
                </a:lnTo>
                <a:lnTo>
                  <a:pt x="1615" y="1842"/>
                </a:lnTo>
                <a:lnTo>
                  <a:pt x="1655" y="1869"/>
                </a:lnTo>
                <a:lnTo>
                  <a:pt x="1694" y="1895"/>
                </a:lnTo>
                <a:lnTo>
                  <a:pt x="1731" y="1918"/>
                </a:lnTo>
                <a:lnTo>
                  <a:pt x="1767" y="1940"/>
                </a:lnTo>
                <a:lnTo>
                  <a:pt x="1802" y="1961"/>
                </a:lnTo>
                <a:lnTo>
                  <a:pt x="1835" y="1979"/>
                </a:lnTo>
                <a:lnTo>
                  <a:pt x="1867" y="1996"/>
                </a:lnTo>
                <a:lnTo>
                  <a:pt x="1898" y="2011"/>
                </a:lnTo>
                <a:lnTo>
                  <a:pt x="1928" y="2024"/>
                </a:lnTo>
                <a:lnTo>
                  <a:pt x="1956" y="2036"/>
                </a:lnTo>
                <a:lnTo>
                  <a:pt x="1983" y="2046"/>
                </a:lnTo>
                <a:lnTo>
                  <a:pt x="2009" y="2054"/>
                </a:lnTo>
                <a:lnTo>
                  <a:pt x="2034" y="2060"/>
                </a:lnTo>
                <a:lnTo>
                  <a:pt x="2057" y="2064"/>
                </a:lnTo>
                <a:lnTo>
                  <a:pt x="2079" y="2067"/>
                </a:lnTo>
                <a:lnTo>
                  <a:pt x="2100" y="2068"/>
                </a:lnTo>
                <a:lnTo>
                  <a:pt x="2120" y="2068"/>
                </a:lnTo>
                <a:lnTo>
                  <a:pt x="2138" y="2068"/>
                </a:lnTo>
                <a:lnTo>
                  <a:pt x="2155" y="2068"/>
                </a:lnTo>
                <a:lnTo>
                  <a:pt x="2171" y="2068"/>
                </a:lnTo>
                <a:lnTo>
                  <a:pt x="2185" y="2068"/>
                </a:lnTo>
                <a:lnTo>
                  <a:pt x="2198" y="2068"/>
                </a:lnTo>
                <a:lnTo>
                  <a:pt x="2210" y="2068"/>
                </a:lnTo>
                <a:lnTo>
                  <a:pt x="2221" y="2068"/>
                </a:lnTo>
                <a:lnTo>
                  <a:pt x="2231" y="2068"/>
                </a:lnTo>
                <a:lnTo>
                  <a:pt x="2239" y="2068"/>
                </a:lnTo>
                <a:lnTo>
                  <a:pt x="2246" y="2068"/>
                </a:lnTo>
                <a:lnTo>
                  <a:pt x="2251" y="2068"/>
                </a:lnTo>
                <a:lnTo>
                  <a:pt x="2256" y="2068"/>
                </a:lnTo>
                <a:lnTo>
                  <a:pt x="2259" y="2068"/>
                </a:lnTo>
                <a:lnTo>
                  <a:pt x="2261" y="2068"/>
                </a:lnTo>
                <a:lnTo>
                  <a:pt x="2262" y="2068"/>
                </a:lnTo>
                <a:lnTo>
                  <a:pt x="2262" y="2067"/>
                </a:lnTo>
                <a:lnTo>
                  <a:pt x="2262" y="2066"/>
                </a:lnTo>
                <a:lnTo>
                  <a:pt x="2262" y="2065"/>
                </a:lnTo>
                <a:lnTo>
                  <a:pt x="2262" y="2063"/>
                </a:lnTo>
                <a:lnTo>
                  <a:pt x="2262" y="2062"/>
                </a:lnTo>
                <a:lnTo>
                  <a:pt x="2262" y="2060"/>
                </a:lnTo>
                <a:lnTo>
                  <a:pt x="2262" y="2057"/>
                </a:lnTo>
                <a:lnTo>
                  <a:pt x="2262" y="2055"/>
                </a:lnTo>
                <a:lnTo>
                  <a:pt x="2262" y="2052"/>
                </a:lnTo>
                <a:lnTo>
                  <a:pt x="2262" y="2050"/>
                </a:lnTo>
                <a:lnTo>
                  <a:pt x="2262" y="2046"/>
                </a:lnTo>
                <a:lnTo>
                  <a:pt x="2262" y="2043"/>
                </a:lnTo>
                <a:lnTo>
                  <a:pt x="2262" y="2039"/>
                </a:lnTo>
                <a:lnTo>
                  <a:pt x="2262" y="2035"/>
                </a:lnTo>
                <a:lnTo>
                  <a:pt x="2262" y="2031"/>
                </a:lnTo>
                <a:lnTo>
                  <a:pt x="2262" y="2028"/>
                </a:lnTo>
                <a:lnTo>
                  <a:pt x="2262" y="2024"/>
                </a:lnTo>
                <a:lnTo>
                  <a:pt x="2262" y="2021"/>
                </a:lnTo>
                <a:lnTo>
                  <a:pt x="2262" y="2018"/>
                </a:lnTo>
                <a:lnTo>
                  <a:pt x="2262" y="2016"/>
                </a:lnTo>
                <a:lnTo>
                  <a:pt x="2262" y="2013"/>
                </a:lnTo>
                <a:lnTo>
                  <a:pt x="2262" y="2011"/>
                </a:lnTo>
                <a:lnTo>
                  <a:pt x="2262" y="2009"/>
                </a:lnTo>
                <a:lnTo>
                  <a:pt x="2262" y="2008"/>
                </a:lnTo>
                <a:lnTo>
                  <a:pt x="2262" y="2006"/>
                </a:lnTo>
                <a:lnTo>
                  <a:pt x="2262" y="2005"/>
                </a:lnTo>
                <a:lnTo>
                  <a:pt x="2262" y="2004"/>
                </a:lnTo>
                <a:lnTo>
                  <a:pt x="2262" y="2003"/>
                </a:lnTo>
                <a:lnTo>
                  <a:pt x="2262" y="2004"/>
                </a:lnTo>
                <a:lnTo>
                  <a:pt x="2264" y="2005"/>
                </a:lnTo>
                <a:lnTo>
                  <a:pt x="2267" y="2008"/>
                </a:lnTo>
                <a:lnTo>
                  <a:pt x="2272" y="2011"/>
                </a:lnTo>
                <a:lnTo>
                  <a:pt x="2277" y="2016"/>
                </a:lnTo>
                <a:lnTo>
                  <a:pt x="2284" y="2021"/>
                </a:lnTo>
                <a:lnTo>
                  <a:pt x="2292" y="2028"/>
                </a:lnTo>
                <a:lnTo>
                  <a:pt x="2302" y="2035"/>
                </a:lnTo>
                <a:lnTo>
                  <a:pt x="2313" y="2044"/>
                </a:lnTo>
                <a:lnTo>
                  <a:pt x="2325" y="2054"/>
                </a:lnTo>
                <a:lnTo>
                  <a:pt x="2338" y="2064"/>
                </a:lnTo>
                <a:lnTo>
                  <a:pt x="2352" y="2076"/>
                </a:lnTo>
                <a:lnTo>
                  <a:pt x="2368" y="2088"/>
                </a:lnTo>
                <a:lnTo>
                  <a:pt x="2385" y="2102"/>
                </a:lnTo>
                <a:lnTo>
                  <a:pt x="2404" y="2117"/>
                </a:lnTo>
                <a:lnTo>
                  <a:pt x="2423" y="2132"/>
                </a:lnTo>
                <a:lnTo>
                  <a:pt x="2443" y="2148"/>
                </a:lnTo>
                <a:lnTo>
                  <a:pt x="2461" y="2163"/>
                </a:lnTo>
                <a:lnTo>
                  <a:pt x="2478" y="2176"/>
                </a:lnTo>
                <a:lnTo>
                  <a:pt x="2494" y="2189"/>
                </a:lnTo>
                <a:lnTo>
                  <a:pt x="2508" y="2200"/>
                </a:lnTo>
                <a:lnTo>
                  <a:pt x="2522" y="2211"/>
                </a:lnTo>
                <a:lnTo>
                  <a:pt x="2534" y="2221"/>
                </a:lnTo>
                <a:lnTo>
                  <a:pt x="2544" y="2229"/>
                </a:lnTo>
                <a:lnTo>
                  <a:pt x="2554" y="2237"/>
                </a:lnTo>
                <a:lnTo>
                  <a:pt x="2562" y="2243"/>
                </a:lnTo>
                <a:lnTo>
                  <a:pt x="2569" y="2249"/>
                </a:lnTo>
                <a:lnTo>
                  <a:pt x="2575" y="2253"/>
                </a:lnTo>
                <a:lnTo>
                  <a:pt x="2579" y="2257"/>
                </a:lnTo>
                <a:lnTo>
                  <a:pt x="2582" y="2260"/>
                </a:lnTo>
                <a:lnTo>
                  <a:pt x="2584" y="2261"/>
                </a:lnTo>
                <a:lnTo>
                  <a:pt x="2585" y="2262"/>
                </a:lnTo>
                <a:lnTo>
                  <a:pt x="2584" y="2262"/>
                </a:lnTo>
                <a:lnTo>
                  <a:pt x="2582" y="2264"/>
                </a:lnTo>
                <a:lnTo>
                  <a:pt x="2579" y="2266"/>
                </a:lnTo>
                <a:lnTo>
                  <a:pt x="2575" y="2270"/>
                </a:lnTo>
                <a:lnTo>
                  <a:pt x="2569" y="2274"/>
                </a:lnTo>
                <a:lnTo>
                  <a:pt x="2562" y="2280"/>
                </a:lnTo>
                <a:lnTo>
                  <a:pt x="2554" y="2286"/>
                </a:lnTo>
                <a:lnTo>
                  <a:pt x="2544" y="2294"/>
                </a:lnTo>
                <a:lnTo>
                  <a:pt x="2534" y="2302"/>
                </a:lnTo>
                <a:lnTo>
                  <a:pt x="2522" y="2312"/>
                </a:lnTo>
                <a:lnTo>
                  <a:pt x="2508" y="2323"/>
                </a:lnTo>
                <a:lnTo>
                  <a:pt x="2494" y="2334"/>
                </a:lnTo>
                <a:lnTo>
                  <a:pt x="2478" y="2347"/>
                </a:lnTo>
                <a:lnTo>
                  <a:pt x="2461" y="2360"/>
                </a:lnTo>
                <a:lnTo>
                  <a:pt x="2443" y="2375"/>
                </a:lnTo>
                <a:lnTo>
                  <a:pt x="2423" y="2391"/>
                </a:lnTo>
                <a:lnTo>
                  <a:pt x="2404" y="2406"/>
                </a:lnTo>
                <a:lnTo>
                  <a:pt x="2385" y="2421"/>
                </a:lnTo>
                <a:lnTo>
                  <a:pt x="2368" y="2435"/>
                </a:lnTo>
                <a:lnTo>
                  <a:pt x="2352" y="2447"/>
                </a:lnTo>
                <a:lnTo>
                  <a:pt x="2338" y="2459"/>
                </a:lnTo>
                <a:lnTo>
                  <a:pt x="2325" y="2470"/>
                </a:lnTo>
                <a:lnTo>
                  <a:pt x="2313" y="2479"/>
                </a:lnTo>
                <a:lnTo>
                  <a:pt x="2302" y="2488"/>
                </a:lnTo>
                <a:lnTo>
                  <a:pt x="2292" y="2495"/>
                </a:lnTo>
                <a:lnTo>
                  <a:pt x="2284" y="2502"/>
                </a:lnTo>
                <a:lnTo>
                  <a:pt x="2277" y="2507"/>
                </a:lnTo>
                <a:lnTo>
                  <a:pt x="2272" y="2512"/>
                </a:lnTo>
                <a:lnTo>
                  <a:pt x="2267" y="2515"/>
                </a:lnTo>
                <a:lnTo>
                  <a:pt x="2264" y="2518"/>
                </a:lnTo>
                <a:lnTo>
                  <a:pt x="2262" y="2520"/>
                </a:lnTo>
                <a:lnTo>
                  <a:pt x="2262" y="2519"/>
                </a:lnTo>
                <a:lnTo>
                  <a:pt x="2262" y="2518"/>
                </a:lnTo>
                <a:lnTo>
                  <a:pt x="2262" y="2517"/>
                </a:lnTo>
                <a:lnTo>
                  <a:pt x="2262" y="2515"/>
                </a:lnTo>
                <a:lnTo>
                  <a:pt x="2262" y="2514"/>
                </a:lnTo>
                <a:lnTo>
                  <a:pt x="2262" y="2512"/>
                </a:lnTo>
                <a:lnTo>
                  <a:pt x="2262" y="2510"/>
                </a:lnTo>
                <a:lnTo>
                  <a:pt x="2262" y="2507"/>
                </a:lnTo>
                <a:lnTo>
                  <a:pt x="2262" y="2505"/>
                </a:lnTo>
                <a:lnTo>
                  <a:pt x="2262" y="2502"/>
                </a:lnTo>
                <a:lnTo>
                  <a:pt x="2262" y="2499"/>
                </a:lnTo>
                <a:lnTo>
                  <a:pt x="2262" y="2495"/>
                </a:lnTo>
                <a:lnTo>
                  <a:pt x="2262" y="2492"/>
                </a:lnTo>
                <a:lnTo>
                  <a:pt x="2262" y="2488"/>
                </a:lnTo>
                <a:lnTo>
                  <a:pt x="2262" y="2484"/>
                </a:lnTo>
                <a:lnTo>
                  <a:pt x="2262" y="2480"/>
                </a:lnTo>
                <a:lnTo>
                  <a:pt x="2262" y="2477"/>
                </a:lnTo>
                <a:lnTo>
                  <a:pt x="2262" y="2474"/>
                </a:lnTo>
                <a:lnTo>
                  <a:pt x="2262" y="2471"/>
                </a:lnTo>
                <a:lnTo>
                  <a:pt x="2262" y="2468"/>
                </a:lnTo>
                <a:lnTo>
                  <a:pt x="2262" y="2466"/>
                </a:lnTo>
                <a:lnTo>
                  <a:pt x="2262" y="2463"/>
                </a:lnTo>
                <a:lnTo>
                  <a:pt x="2262" y="2462"/>
                </a:lnTo>
                <a:lnTo>
                  <a:pt x="2262" y="2460"/>
                </a:lnTo>
                <a:lnTo>
                  <a:pt x="2262" y="2459"/>
                </a:lnTo>
                <a:lnTo>
                  <a:pt x="2262" y="2457"/>
                </a:lnTo>
                <a:lnTo>
                  <a:pt x="2262" y="2456"/>
                </a:lnTo>
                <a:lnTo>
                  <a:pt x="2262" y="2455"/>
                </a:lnTo>
                <a:lnTo>
                  <a:pt x="2261" y="2455"/>
                </a:lnTo>
                <a:lnTo>
                  <a:pt x="2259" y="2455"/>
                </a:lnTo>
                <a:lnTo>
                  <a:pt x="2256" y="2455"/>
                </a:lnTo>
                <a:lnTo>
                  <a:pt x="2251" y="2455"/>
                </a:lnTo>
                <a:lnTo>
                  <a:pt x="2246" y="2455"/>
                </a:lnTo>
                <a:lnTo>
                  <a:pt x="2239" y="2455"/>
                </a:lnTo>
                <a:lnTo>
                  <a:pt x="2231" y="2455"/>
                </a:lnTo>
                <a:lnTo>
                  <a:pt x="2221" y="2455"/>
                </a:lnTo>
                <a:lnTo>
                  <a:pt x="2210" y="2455"/>
                </a:lnTo>
                <a:lnTo>
                  <a:pt x="2198" y="2455"/>
                </a:lnTo>
                <a:lnTo>
                  <a:pt x="2185" y="2455"/>
                </a:lnTo>
                <a:lnTo>
                  <a:pt x="2171" y="2455"/>
                </a:lnTo>
                <a:lnTo>
                  <a:pt x="2155" y="2455"/>
                </a:lnTo>
                <a:lnTo>
                  <a:pt x="2138" y="2455"/>
                </a:lnTo>
                <a:lnTo>
                  <a:pt x="2120" y="2455"/>
                </a:lnTo>
                <a:lnTo>
                  <a:pt x="2100" y="2455"/>
                </a:lnTo>
                <a:lnTo>
                  <a:pt x="2079" y="2454"/>
                </a:lnTo>
                <a:lnTo>
                  <a:pt x="2057" y="2451"/>
                </a:lnTo>
                <a:lnTo>
                  <a:pt x="2034" y="2446"/>
                </a:lnTo>
                <a:lnTo>
                  <a:pt x="2009" y="2439"/>
                </a:lnTo>
                <a:lnTo>
                  <a:pt x="1983" y="2430"/>
                </a:lnTo>
                <a:lnTo>
                  <a:pt x="1956" y="2419"/>
                </a:lnTo>
                <a:lnTo>
                  <a:pt x="1928" y="2406"/>
                </a:lnTo>
                <a:lnTo>
                  <a:pt x="1898" y="2391"/>
                </a:lnTo>
                <a:lnTo>
                  <a:pt x="1867" y="2374"/>
                </a:lnTo>
                <a:lnTo>
                  <a:pt x="1835" y="2354"/>
                </a:lnTo>
                <a:lnTo>
                  <a:pt x="1802" y="2333"/>
                </a:lnTo>
                <a:lnTo>
                  <a:pt x="1767" y="2310"/>
                </a:lnTo>
                <a:lnTo>
                  <a:pt x="1731" y="2285"/>
                </a:lnTo>
                <a:lnTo>
                  <a:pt x="1694" y="2258"/>
                </a:lnTo>
                <a:lnTo>
                  <a:pt x="1655" y="2228"/>
                </a:lnTo>
                <a:lnTo>
                  <a:pt x="1615" y="2197"/>
                </a:lnTo>
                <a:lnTo>
                  <a:pt x="1576" y="2166"/>
                </a:lnTo>
                <a:lnTo>
                  <a:pt x="1540" y="2136"/>
                </a:lnTo>
                <a:lnTo>
                  <a:pt x="1506" y="2109"/>
                </a:lnTo>
                <a:lnTo>
                  <a:pt x="1474" y="2084"/>
                </a:lnTo>
                <a:lnTo>
                  <a:pt x="1445" y="2061"/>
                </a:lnTo>
                <a:lnTo>
                  <a:pt x="1419" y="2039"/>
                </a:lnTo>
                <a:lnTo>
                  <a:pt x="1395" y="2020"/>
                </a:lnTo>
                <a:lnTo>
                  <a:pt x="1373" y="2003"/>
                </a:lnTo>
                <a:lnTo>
                  <a:pt x="1354" y="1988"/>
                </a:lnTo>
                <a:lnTo>
                  <a:pt x="1338" y="1975"/>
                </a:lnTo>
                <a:lnTo>
                  <a:pt x="1324" y="1964"/>
                </a:lnTo>
                <a:lnTo>
                  <a:pt x="1313" y="1955"/>
                </a:lnTo>
                <a:lnTo>
                  <a:pt x="1304" y="1948"/>
                </a:lnTo>
                <a:lnTo>
                  <a:pt x="1297" y="1943"/>
                </a:lnTo>
                <a:lnTo>
                  <a:pt x="1294" y="1939"/>
                </a:lnTo>
                <a:lnTo>
                  <a:pt x="1292" y="1938"/>
                </a:lnTo>
                <a:lnTo>
                  <a:pt x="1290" y="1938"/>
                </a:lnTo>
                <a:lnTo>
                  <a:pt x="1282" y="1938"/>
                </a:lnTo>
                <a:lnTo>
                  <a:pt x="1270" y="1938"/>
                </a:lnTo>
                <a:lnTo>
                  <a:pt x="1252" y="1938"/>
                </a:lnTo>
                <a:lnTo>
                  <a:pt x="1229" y="1938"/>
                </a:lnTo>
                <a:lnTo>
                  <a:pt x="1201" y="1938"/>
                </a:lnTo>
                <a:lnTo>
                  <a:pt x="1169" y="1938"/>
                </a:lnTo>
                <a:lnTo>
                  <a:pt x="1131" y="1938"/>
                </a:lnTo>
                <a:lnTo>
                  <a:pt x="1088" y="1938"/>
                </a:lnTo>
                <a:lnTo>
                  <a:pt x="1040" y="1938"/>
                </a:lnTo>
                <a:lnTo>
                  <a:pt x="987" y="1938"/>
                </a:lnTo>
                <a:lnTo>
                  <a:pt x="929" y="1938"/>
                </a:lnTo>
                <a:lnTo>
                  <a:pt x="866" y="1938"/>
                </a:lnTo>
                <a:lnTo>
                  <a:pt x="798" y="1938"/>
                </a:lnTo>
                <a:lnTo>
                  <a:pt x="724" y="1938"/>
                </a:lnTo>
                <a:lnTo>
                  <a:pt x="646" y="1938"/>
                </a:lnTo>
                <a:close/>
              </a:path>
            </a:pathLst>
          </a:custGeom>
          <a:solidFill>
            <a:schemeClr val="tx2"/>
          </a:solidFill>
          <a:ln w="9525">
            <a:solidFill>
              <a:schemeClr val="bg1"/>
            </a:solidFill>
            <a:miter lim="800000"/>
            <a:headEnd/>
            <a:tailEnd/>
          </a:ln>
          <a:effectLst/>
        </p:spPr>
        <p:txBody>
          <a:bodyPr lIns="80147" tIns="40074" rIns="80147" bIns="40074">
            <a:prstTxWarp prst="textNoShape">
              <a:avLst/>
            </a:prstTxWarp>
          </a:bodyPr>
          <a:lstStyle/>
          <a:p>
            <a:pPr indent="-269827"/>
            <a:endParaRPr lang="en-GB" sz="1600" dirty="0">
              <a:solidFill>
                <a:schemeClr val="bg1"/>
              </a:solidFill>
              <a:latin typeface="Garamond"/>
            </a:endParaRPr>
          </a:p>
        </p:txBody>
      </p:sp>
      <p:sp>
        <p:nvSpPr>
          <p:cNvPr id="25" name="Text Box 4"/>
          <p:cNvSpPr txBox="1">
            <a:spLocks noChangeArrowheads="1"/>
          </p:cNvSpPr>
          <p:nvPr>
            <p:custDataLst>
              <p:tags r:id="rId4"/>
            </p:custDataLst>
          </p:nvPr>
        </p:nvSpPr>
        <p:spPr bwMode="auto">
          <a:xfrm>
            <a:off x="2453002" y="3309870"/>
            <a:ext cx="1408901" cy="222295"/>
          </a:xfrm>
          <a:prstGeom prst="rect">
            <a:avLst/>
          </a:prstGeom>
          <a:noFill/>
          <a:ln w="6350">
            <a:noFill/>
            <a:miter lim="800000"/>
            <a:headEnd/>
            <a:tailEnd/>
          </a:ln>
        </p:spPr>
        <p:txBody>
          <a:bodyPr wrap="square" lIns="36836" tIns="36836" rIns="36836" bIns="36836">
            <a:prstTxWarp prst="textNoShape">
              <a:avLst/>
            </a:prstTxWarp>
            <a:spAutoFit/>
          </a:bodyPr>
          <a:lstStyle/>
          <a:p>
            <a:pPr defTabSz="290812">
              <a:lnSpc>
                <a:spcPts val="964"/>
              </a:lnSpc>
              <a:spcBef>
                <a:spcPct val="0"/>
              </a:spcBef>
            </a:pPr>
            <a:r>
              <a:rPr lang="en-US" sz="1600" dirty="0">
                <a:solidFill>
                  <a:srgbClr val="FFFFFF"/>
                </a:solidFill>
                <a:latin typeface="Garamond"/>
              </a:rPr>
              <a:t>Text</a:t>
            </a:r>
            <a:endParaRPr lang="en-US" sz="1600" b="1" dirty="0">
              <a:solidFill>
                <a:srgbClr val="FFFFFF"/>
              </a:solidFill>
              <a:latin typeface="Garamond"/>
            </a:endParaRPr>
          </a:p>
        </p:txBody>
      </p:sp>
      <p:sp>
        <p:nvSpPr>
          <p:cNvPr id="26" name="Text Box 5"/>
          <p:cNvSpPr txBox="1">
            <a:spLocks noChangeArrowheads="1"/>
          </p:cNvSpPr>
          <p:nvPr>
            <p:custDataLst>
              <p:tags r:id="rId5"/>
            </p:custDataLst>
          </p:nvPr>
        </p:nvSpPr>
        <p:spPr bwMode="auto">
          <a:xfrm>
            <a:off x="2453002" y="4073482"/>
            <a:ext cx="1407616" cy="222295"/>
          </a:xfrm>
          <a:prstGeom prst="rect">
            <a:avLst/>
          </a:prstGeom>
          <a:noFill/>
          <a:ln w="6350">
            <a:noFill/>
            <a:miter lim="800000"/>
            <a:headEnd/>
            <a:tailEnd/>
          </a:ln>
        </p:spPr>
        <p:txBody>
          <a:bodyPr wrap="square" lIns="36836" tIns="36836" rIns="36836" bIns="36836">
            <a:prstTxWarp prst="textNoShape">
              <a:avLst/>
            </a:prstTxWarp>
            <a:spAutoFit/>
          </a:bodyPr>
          <a:lstStyle/>
          <a:p>
            <a:pPr defTabSz="290812">
              <a:lnSpc>
                <a:spcPts val="964"/>
              </a:lnSpc>
              <a:spcBef>
                <a:spcPct val="0"/>
              </a:spcBef>
            </a:pPr>
            <a:r>
              <a:rPr lang="en-US" sz="1600" dirty="0">
                <a:solidFill>
                  <a:srgbClr val="FFFFFF"/>
                </a:solidFill>
                <a:latin typeface="Garamond"/>
              </a:rPr>
              <a:t>Text</a:t>
            </a:r>
            <a:endParaRPr lang="en-US" sz="1600" b="1" dirty="0">
              <a:solidFill>
                <a:srgbClr val="FFFFFF"/>
              </a:solidFill>
              <a:latin typeface="Garamond"/>
            </a:endParaRPr>
          </a:p>
        </p:txBody>
      </p:sp>
      <p:sp>
        <p:nvSpPr>
          <p:cNvPr id="27" name="Text Box 6"/>
          <p:cNvSpPr txBox="1">
            <a:spLocks noChangeArrowheads="1"/>
          </p:cNvSpPr>
          <p:nvPr>
            <p:custDataLst>
              <p:tags r:id="rId6"/>
            </p:custDataLst>
          </p:nvPr>
        </p:nvSpPr>
        <p:spPr bwMode="auto">
          <a:xfrm>
            <a:off x="2453002" y="4812549"/>
            <a:ext cx="1408901" cy="222295"/>
          </a:xfrm>
          <a:prstGeom prst="rect">
            <a:avLst/>
          </a:prstGeom>
          <a:noFill/>
          <a:ln w="6350">
            <a:noFill/>
            <a:miter lim="800000"/>
            <a:headEnd/>
            <a:tailEnd/>
          </a:ln>
        </p:spPr>
        <p:txBody>
          <a:bodyPr wrap="square" lIns="36836" tIns="36836" rIns="36836" bIns="36836">
            <a:prstTxWarp prst="textNoShape">
              <a:avLst/>
            </a:prstTxWarp>
            <a:spAutoFit/>
          </a:bodyPr>
          <a:lstStyle/>
          <a:p>
            <a:pPr defTabSz="290812">
              <a:lnSpc>
                <a:spcPts val="964"/>
              </a:lnSpc>
              <a:spcBef>
                <a:spcPct val="0"/>
              </a:spcBef>
            </a:pPr>
            <a:r>
              <a:rPr lang="en-US" sz="1600" dirty="0">
                <a:solidFill>
                  <a:srgbClr val="FFFFFF"/>
                </a:solidFill>
                <a:latin typeface="Garamond"/>
              </a:rPr>
              <a:t>Text</a:t>
            </a:r>
            <a:endParaRPr lang="en-US" sz="1600" b="1" dirty="0">
              <a:solidFill>
                <a:srgbClr val="FFFFFF"/>
              </a:solidFill>
              <a:latin typeface="Garamond"/>
            </a:endParaRPr>
          </a:p>
        </p:txBody>
      </p:sp>
      <p:sp>
        <p:nvSpPr>
          <p:cNvPr id="28" name="Text Box 7"/>
          <p:cNvSpPr txBox="1">
            <a:spLocks noChangeArrowheads="1"/>
          </p:cNvSpPr>
          <p:nvPr>
            <p:custDataLst>
              <p:tags r:id="rId7"/>
            </p:custDataLst>
          </p:nvPr>
        </p:nvSpPr>
        <p:spPr bwMode="auto">
          <a:xfrm>
            <a:off x="5529190" y="2626711"/>
            <a:ext cx="723445" cy="222295"/>
          </a:xfrm>
          <a:prstGeom prst="rect">
            <a:avLst/>
          </a:prstGeom>
          <a:noFill/>
          <a:ln w="6350">
            <a:noFill/>
            <a:miter lim="800000"/>
            <a:headEnd/>
            <a:tailEnd/>
          </a:ln>
        </p:spPr>
        <p:txBody>
          <a:bodyPr wrap="square" lIns="36836" tIns="36836" rIns="36836" bIns="36836">
            <a:prstTxWarp prst="textNoShape">
              <a:avLst/>
            </a:prstTxWarp>
            <a:spAutoFit/>
          </a:bodyPr>
          <a:lstStyle/>
          <a:p>
            <a:pPr defTabSz="290812">
              <a:lnSpc>
                <a:spcPts val="964"/>
              </a:lnSpc>
              <a:spcBef>
                <a:spcPct val="0"/>
              </a:spcBef>
            </a:pPr>
            <a:r>
              <a:rPr lang="en-US" sz="1600" dirty="0">
                <a:solidFill>
                  <a:srgbClr val="1F497D"/>
                </a:solidFill>
                <a:latin typeface="Garamond"/>
              </a:rPr>
              <a:t>Text</a:t>
            </a:r>
          </a:p>
        </p:txBody>
      </p:sp>
      <p:sp>
        <p:nvSpPr>
          <p:cNvPr id="30" name="Text Box 8"/>
          <p:cNvSpPr txBox="1">
            <a:spLocks noChangeArrowheads="1"/>
          </p:cNvSpPr>
          <p:nvPr>
            <p:custDataLst>
              <p:tags r:id="rId8"/>
            </p:custDataLst>
          </p:nvPr>
        </p:nvSpPr>
        <p:spPr bwMode="auto">
          <a:xfrm>
            <a:off x="6209216" y="4032575"/>
            <a:ext cx="723445" cy="222295"/>
          </a:xfrm>
          <a:prstGeom prst="rect">
            <a:avLst/>
          </a:prstGeom>
          <a:noFill/>
          <a:ln w="6350">
            <a:noFill/>
            <a:miter lim="800000"/>
            <a:headEnd/>
            <a:tailEnd/>
          </a:ln>
        </p:spPr>
        <p:txBody>
          <a:bodyPr wrap="square" lIns="36836" tIns="36836" rIns="36836" bIns="36836">
            <a:prstTxWarp prst="textNoShape">
              <a:avLst/>
            </a:prstTxWarp>
            <a:spAutoFit/>
          </a:bodyPr>
          <a:lstStyle/>
          <a:p>
            <a:pPr defTabSz="290812">
              <a:lnSpc>
                <a:spcPts val="964"/>
              </a:lnSpc>
              <a:spcBef>
                <a:spcPct val="0"/>
              </a:spcBef>
            </a:pPr>
            <a:r>
              <a:rPr lang="en-US" sz="1600" dirty="0">
                <a:solidFill>
                  <a:srgbClr val="1F497D"/>
                </a:solidFill>
                <a:latin typeface="Garamond"/>
              </a:rPr>
              <a:t>Text</a:t>
            </a:r>
            <a:endParaRPr lang="en-US" sz="1600" b="1" dirty="0">
              <a:solidFill>
                <a:srgbClr val="1F497D"/>
              </a:solidFill>
              <a:latin typeface="Garamond"/>
            </a:endParaRPr>
          </a:p>
        </p:txBody>
      </p:sp>
      <p:sp>
        <p:nvSpPr>
          <p:cNvPr id="31" name="Text Box 9"/>
          <p:cNvSpPr txBox="1">
            <a:spLocks noChangeArrowheads="1"/>
          </p:cNvSpPr>
          <p:nvPr>
            <p:custDataLst>
              <p:tags r:id="rId9"/>
            </p:custDataLst>
          </p:nvPr>
        </p:nvSpPr>
        <p:spPr bwMode="auto">
          <a:xfrm>
            <a:off x="5529190" y="5457529"/>
            <a:ext cx="723445" cy="222295"/>
          </a:xfrm>
          <a:prstGeom prst="rect">
            <a:avLst/>
          </a:prstGeom>
          <a:noFill/>
          <a:ln w="6350">
            <a:noFill/>
            <a:miter lim="800000"/>
            <a:headEnd/>
            <a:tailEnd/>
          </a:ln>
        </p:spPr>
        <p:txBody>
          <a:bodyPr wrap="square" lIns="36836" tIns="36836" rIns="36836" bIns="36836">
            <a:prstTxWarp prst="textNoShape">
              <a:avLst/>
            </a:prstTxWarp>
            <a:spAutoFit/>
          </a:bodyPr>
          <a:lstStyle/>
          <a:p>
            <a:pPr defTabSz="290812">
              <a:lnSpc>
                <a:spcPts val="964"/>
              </a:lnSpc>
              <a:spcBef>
                <a:spcPct val="0"/>
              </a:spcBef>
            </a:pPr>
            <a:r>
              <a:rPr lang="en-US" sz="1600" dirty="0">
                <a:solidFill>
                  <a:srgbClr val="1F497D"/>
                </a:solidFill>
                <a:latin typeface="Garamond"/>
              </a:rPr>
              <a:t>Text</a:t>
            </a:r>
            <a:endParaRPr lang="en-US" sz="1600" b="1" dirty="0">
              <a:solidFill>
                <a:srgbClr val="1F497D"/>
              </a:solidFill>
              <a:latin typeface="Garamond"/>
            </a:endParaRPr>
          </a:p>
        </p:txBody>
      </p:sp>
      <p:sp>
        <p:nvSpPr>
          <p:cNvPr id="32" name="Title 3"/>
          <p:cNvSpPr txBox="1">
            <a:spLocks/>
          </p:cNvSpPr>
          <p:nvPr>
            <p:custDataLst>
              <p:tags r:id="rId10"/>
            </p:custDataLst>
          </p:nvPr>
        </p:nvSpPr>
        <p:spPr>
          <a:xfrm>
            <a:off x="754204" y="5545148"/>
            <a:ext cx="6891495" cy="822961"/>
          </a:xfrm>
          <a:prstGeom prst="rect">
            <a:avLst/>
          </a:prstGeom>
        </p:spPr>
        <p:txBody>
          <a:bodyPr vert="horz" lIns="80133" tIns="40067" rIns="80133" bIns="40067" rtlCol="0" anchor="b" anchorCtr="0">
            <a:normAutofit/>
          </a:bodyPr>
          <a:lstStyle>
            <a:lvl1pPr algn="l" defTabSz="914239" rtl="0" eaLnBrk="1" latinLnBrk="0" hangingPunct="1">
              <a:spcBef>
                <a:spcPct val="0"/>
              </a:spcBef>
              <a:buNone/>
              <a:defRPr sz="2800" kern="1200">
                <a:solidFill>
                  <a:schemeClr val="accent1"/>
                </a:solidFill>
                <a:latin typeface="Garamond" pitchFamily="18" charset="0"/>
                <a:ea typeface="+mj-ea"/>
                <a:cs typeface="+mj-cs"/>
              </a:defRPr>
            </a:lvl1pPr>
          </a:lstStyle>
          <a:p>
            <a:r>
              <a:rPr lang="en-GB" sz="1200" dirty="0">
                <a:solidFill>
                  <a:schemeClr val="tx2"/>
                </a:solidFill>
              </a:rPr>
              <a:t>Footnotes and assumptions: list</a:t>
            </a:r>
          </a:p>
          <a:p>
            <a:r>
              <a:rPr lang="en-GB" sz="1200" dirty="0">
                <a:solidFill>
                  <a:schemeClr val="tx2"/>
                </a:solidFill>
              </a:rPr>
              <a:t>Source: List sources</a:t>
            </a:r>
          </a:p>
        </p:txBody>
      </p:sp>
      <p:sp>
        <p:nvSpPr>
          <p:cNvPr id="33" name="Rectangle 4"/>
          <p:cNvSpPr>
            <a:spLocks noGrp="1" noChangeArrowheads="1"/>
          </p:cNvSpPr>
          <p:nvPr>
            <p:ph type="title"/>
            <p:custDataLst>
              <p:tags r:id="rId11"/>
            </p:custDataLst>
          </p:nvPr>
        </p:nvSpPr>
        <p:spPr/>
        <p:txBody>
          <a:bodyPr/>
          <a:lstStyle/>
          <a:p>
            <a:r>
              <a:rPr lang="en-GB" dirty="0" smtClean="0"/>
              <a:t>Message title – </a:t>
            </a:r>
            <a:r>
              <a:rPr lang="en-US" dirty="0" smtClean="0"/>
              <a:t>why are you showing it? flow</a:t>
            </a:r>
            <a:endParaRPr lang="en-GB" dirty="0"/>
          </a:p>
        </p:txBody>
      </p:sp>
      <p:sp>
        <p:nvSpPr>
          <p:cNvPr id="5" name="Footer Placeholder 4"/>
          <p:cNvSpPr>
            <a:spLocks noGrp="1"/>
          </p:cNvSpPr>
          <p:nvPr>
            <p:ph type="ftr" sz="quarter" idx="3"/>
          </p:nvPr>
        </p:nvSpPr>
        <p:spPr/>
        <p:txBody>
          <a:bodyPr/>
          <a:lstStyle/>
          <a:p>
            <a:r>
              <a:rPr lang="en-US" dirty="0" smtClean="0"/>
              <a:t>neil young |neil@ogcommunicationdesign.com |www.ogcommunicationdesign.com</a:t>
            </a:r>
            <a:endParaRPr lang="en-US" dirty="0"/>
          </a:p>
        </p:txBody>
      </p:sp>
      <p:sp>
        <p:nvSpPr>
          <p:cNvPr id="35" name="Slide Number Placeholder 1"/>
          <p:cNvSpPr>
            <a:spLocks noGrp="1"/>
          </p:cNvSpPr>
          <p:nvPr>
            <p:ph type="sldNum" sz="quarter" idx="4"/>
            <p:custDataLst>
              <p:tags r:id="rId12"/>
            </p:custDataLst>
          </p:nvPr>
        </p:nvSpPr>
        <p:spPr/>
        <p:txBody>
          <a:bodyPr/>
          <a:lstStyle/>
          <a:p>
            <a:fld id="{9EA32989-03B0-4860-BCBF-38A6D1811E33}" type="slidenum">
              <a:rPr lang="en-GB" smtClean="0"/>
              <a:pPr/>
              <a:t>13</a:t>
            </a:fld>
            <a:endParaRPr lang="en-GB" dirty="0"/>
          </a:p>
        </p:txBody>
      </p:sp>
      <p:sp>
        <p:nvSpPr>
          <p:cNvPr id="14" name="TextBox 13"/>
          <p:cNvSpPr txBox="1"/>
          <p:nvPr>
            <p:custDataLst>
              <p:tags r:id="rId13"/>
            </p:custDataLst>
          </p:nvPr>
        </p:nvSpPr>
        <p:spPr>
          <a:xfrm>
            <a:off x="755338" y="1481982"/>
            <a:ext cx="7606753" cy="362896"/>
          </a:xfrm>
          <a:prstGeom prst="rect">
            <a:avLst/>
          </a:prstGeom>
          <a:noFill/>
        </p:spPr>
        <p:txBody>
          <a:bodyPr wrap="square" lIns="80147" tIns="40074" rIns="80147" bIns="40074" rtlCol="0">
            <a:spAutoFit/>
          </a:bodyPr>
          <a:lstStyle/>
          <a:p>
            <a:r>
              <a:rPr lang="en-ZW" dirty="0">
                <a:latin typeface="Garamond" pitchFamily="18" charset="0"/>
              </a:rPr>
              <a:t>Title – what are you showing on this page?</a:t>
            </a:r>
          </a:p>
        </p:txBody>
      </p:sp>
    </p:spTree>
    <p:extLst>
      <p:ext uri="{BB962C8B-B14F-4D97-AF65-F5344CB8AC3E}">
        <p14:creationId xmlns:p14="http://schemas.microsoft.com/office/powerpoint/2010/main" val="127169332"/>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7480589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7642" name="think-cell Slide" r:id="rId17" imgW="6350000" imgH="6350000" progId="TCLayout.ActiveDocument.1">
                  <p:embed/>
                </p:oleObj>
              </mc:Choice>
              <mc:Fallback>
                <p:oleObj name="think-cell Slide" r:id="rId17" imgW="6350000" imgH="6350000" progId="TCLayout.ActiveDocument.1">
                  <p:embed/>
                  <p:pic>
                    <p:nvPicPr>
                      <p:cNvPr id="0" name="Picture 3"/>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1" name="Group 30"/>
          <p:cNvGrpSpPr/>
          <p:nvPr>
            <p:custDataLst>
              <p:tags r:id="rId3"/>
            </p:custDataLst>
          </p:nvPr>
        </p:nvGrpSpPr>
        <p:grpSpPr>
          <a:xfrm>
            <a:off x="1066800" y="2336800"/>
            <a:ext cx="6696075" cy="2565400"/>
            <a:chOff x="1054100" y="2387600"/>
            <a:chExt cx="6696075" cy="2565400"/>
          </a:xfrm>
        </p:grpSpPr>
        <p:grpSp>
          <p:nvGrpSpPr>
            <p:cNvPr id="21" name="Group 20"/>
            <p:cNvGrpSpPr/>
            <p:nvPr/>
          </p:nvGrpSpPr>
          <p:grpSpPr bwMode="gray">
            <a:xfrm>
              <a:off x="4344512" y="3136900"/>
              <a:ext cx="3190564" cy="1781176"/>
              <a:chOff x="3543303" y="3136900"/>
              <a:chExt cx="3801273" cy="1781176"/>
            </a:xfrm>
          </p:grpSpPr>
          <p:sp>
            <p:nvSpPr>
              <p:cNvPr id="16" name="Bent Arrow 15"/>
              <p:cNvSpPr/>
              <p:nvPr/>
            </p:nvSpPr>
            <p:spPr bwMode="gray">
              <a:xfrm rot="16200000">
                <a:off x="5228039" y="2163362"/>
                <a:ext cx="1143000" cy="3090075"/>
              </a:xfrm>
              <a:prstGeom prst="bentArrow">
                <a:avLst>
                  <a:gd name="adj1" fmla="val 43889"/>
                  <a:gd name="adj2" fmla="val 25000"/>
                  <a:gd name="adj3" fmla="val 0"/>
                  <a:gd name="adj4" fmla="val 56102"/>
                </a:avLst>
              </a:prstGeom>
              <a:solidFill>
                <a:schemeClr val="tx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1600" dirty="0" smtClean="0">
                  <a:solidFill>
                    <a:srgbClr val="FFFFFF"/>
                  </a:solidFill>
                  <a:latin typeface="Garamond" pitchFamily="18" charset="0"/>
                </a:endParaRPr>
              </a:p>
            </p:txBody>
          </p:sp>
          <p:sp>
            <p:nvSpPr>
              <p:cNvPr id="19" name="Bent Arrow 18"/>
              <p:cNvSpPr/>
              <p:nvPr/>
            </p:nvSpPr>
            <p:spPr bwMode="gray">
              <a:xfrm rot="16200000">
                <a:off x="4872440" y="2482450"/>
                <a:ext cx="1143000" cy="3090075"/>
              </a:xfrm>
              <a:prstGeom prst="bentArrow">
                <a:avLst>
                  <a:gd name="adj1" fmla="val 43889"/>
                  <a:gd name="adj2" fmla="val 25000"/>
                  <a:gd name="adj3" fmla="val 0"/>
                  <a:gd name="adj4" fmla="val 56102"/>
                </a:avLst>
              </a:prstGeom>
              <a:solidFill>
                <a:schemeClr val="tx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1600" dirty="0" smtClean="0">
                  <a:solidFill>
                    <a:srgbClr val="FFFFFF"/>
                  </a:solidFill>
                  <a:latin typeface="Garamond" pitchFamily="18" charset="0"/>
                </a:endParaRPr>
              </a:p>
            </p:txBody>
          </p:sp>
          <p:sp>
            <p:nvSpPr>
              <p:cNvPr id="20" name="Bent Arrow 19"/>
              <p:cNvSpPr/>
              <p:nvPr/>
            </p:nvSpPr>
            <p:spPr bwMode="gray">
              <a:xfrm rot="16200000">
                <a:off x="4516841" y="2801538"/>
                <a:ext cx="1143000" cy="3090075"/>
              </a:xfrm>
              <a:prstGeom prst="bentArrow">
                <a:avLst>
                  <a:gd name="adj1" fmla="val 43889"/>
                  <a:gd name="adj2" fmla="val 25000"/>
                  <a:gd name="adj3" fmla="val 0"/>
                  <a:gd name="adj4" fmla="val 56102"/>
                </a:avLst>
              </a:prstGeom>
              <a:solidFill>
                <a:schemeClr val="tx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1600" dirty="0" smtClean="0">
                  <a:solidFill>
                    <a:srgbClr val="FFFFFF"/>
                  </a:solidFill>
                  <a:latin typeface="Garamond" pitchFamily="18" charset="0"/>
                </a:endParaRPr>
              </a:p>
            </p:txBody>
          </p:sp>
        </p:grpSp>
        <p:grpSp>
          <p:nvGrpSpPr>
            <p:cNvPr id="22" name="Group 21"/>
            <p:cNvGrpSpPr/>
            <p:nvPr/>
          </p:nvGrpSpPr>
          <p:grpSpPr bwMode="gray">
            <a:xfrm flipH="1">
              <a:off x="1231900" y="3136900"/>
              <a:ext cx="3190564" cy="1781176"/>
              <a:chOff x="3543303" y="3136900"/>
              <a:chExt cx="3801273" cy="1781176"/>
            </a:xfrm>
          </p:grpSpPr>
          <p:sp>
            <p:nvSpPr>
              <p:cNvPr id="23" name="Bent Arrow 22"/>
              <p:cNvSpPr/>
              <p:nvPr/>
            </p:nvSpPr>
            <p:spPr bwMode="gray">
              <a:xfrm rot="16200000">
                <a:off x="5228039" y="2163362"/>
                <a:ext cx="1143000" cy="3090075"/>
              </a:xfrm>
              <a:prstGeom prst="bentArrow">
                <a:avLst>
                  <a:gd name="adj1" fmla="val 43889"/>
                  <a:gd name="adj2" fmla="val 25000"/>
                  <a:gd name="adj3" fmla="val 0"/>
                  <a:gd name="adj4" fmla="val 56102"/>
                </a:avLst>
              </a:prstGeom>
              <a:solidFill>
                <a:schemeClr val="tx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1600" dirty="0" smtClean="0">
                  <a:solidFill>
                    <a:srgbClr val="FFFFFF"/>
                  </a:solidFill>
                  <a:latin typeface="Garamond" pitchFamily="18" charset="0"/>
                </a:endParaRPr>
              </a:p>
            </p:txBody>
          </p:sp>
          <p:sp>
            <p:nvSpPr>
              <p:cNvPr id="24" name="Bent Arrow 23"/>
              <p:cNvSpPr/>
              <p:nvPr/>
            </p:nvSpPr>
            <p:spPr bwMode="gray">
              <a:xfrm rot="16200000">
                <a:off x="4872440" y="2482450"/>
                <a:ext cx="1143000" cy="3090075"/>
              </a:xfrm>
              <a:prstGeom prst="bentArrow">
                <a:avLst>
                  <a:gd name="adj1" fmla="val 43889"/>
                  <a:gd name="adj2" fmla="val 25000"/>
                  <a:gd name="adj3" fmla="val 0"/>
                  <a:gd name="adj4" fmla="val 56102"/>
                </a:avLst>
              </a:prstGeom>
              <a:solidFill>
                <a:schemeClr val="tx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1600" dirty="0" smtClean="0">
                  <a:solidFill>
                    <a:srgbClr val="FFFFFF"/>
                  </a:solidFill>
                  <a:latin typeface="Garamond" pitchFamily="18" charset="0"/>
                </a:endParaRPr>
              </a:p>
            </p:txBody>
          </p:sp>
          <p:sp>
            <p:nvSpPr>
              <p:cNvPr id="25" name="Bent Arrow 24"/>
              <p:cNvSpPr/>
              <p:nvPr/>
            </p:nvSpPr>
            <p:spPr bwMode="gray">
              <a:xfrm rot="16200000">
                <a:off x="4516841" y="2801538"/>
                <a:ext cx="1143000" cy="3090075"/>
              </a:xfrm>
              <a:prstGeom prst="bentArrow">
                <a:avLst>
                  <a:gd name="adj1" fmla="val 43889"/>
                  <a:gd name="adj2" fmla="val 25000"/>
                  <a:gd name="adj3" fmla="val 0"/>
                  <a:gd name="adj4" fmla="val 56102"/>
                </a:avLst>
              </a:prstGeom>
              <a:solidFill>
                <a:schemeClr val="tx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1600" dirty="0" smtClean="0">
                  <a:solidFill>
                    <a:srgbClr val="FFFFFF"/>
                  </a:solidFill>
                  <a:latin typeface="Garamond" pitchFamily="18" charset="0"/>
                </a:endParaRPr>
              </a:p>
            </p:txBody>
          </p:sp>
        </p:grpSp>
        <p:sp>
          <p:nvSpPr>
            <p:cNvPr id="10" name="Up Arrow 9"/>
            <p:cNvSpPr/>
            <p:nvPr/>
          </p:nvSpPr>
          <p:spPr bwMode="gray">
            <a:xfrm>
              <a:off x="2755900" y="2387600"/>
              <a:ext cx="3213100" cy="1104900"/>
            </a:xfrm>
            <a:prstGeom prst="upArrow">
              <a:avLst>
                <a:gd name="adj1" fmla="val 71687"/>
                <a:gd name="adj2" fmla="val 100000"/>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1600" dirty="0" smtClean="0">
                <a:solidFill>
                  <a:srgbClr val="FFFFFF"/>
                </a:solidFill>
                <a:latin typeface="Garamond" pitchFamily="18" charset="0"/>
              </a:endParaRPr>
            </a:p>
          </p:txBody>
        </p:sp>
        <p:sp>
          <p:nvSpPr>
            <p:cNvPr id="27" name="Rectangle 26"/>
            <p:cNvSpPr/>
            <p:nvPr/>
          </p:nvSpPr>
          <p:spPr bwMode="gray">
            <a:xfrm>
              <a:off x="3314700" y="3403600"/>
              <a:ext cx="2146300" cy="4318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1600" dirty="0" smtClean="0">
                <a:solidFill>
                  <a:srgbClr val="FFFFFF"/>
                </a:solidFill>
                <a:latin typeface="Garamond" pitchFamily="18" charset="0"/>
              </a:endParaRPr>
            </a:p>
          </p:txBody>
        </p:sp>
        <p:sp>
          <p:nvSpPr>
            <p:cNvPr id="29" name="Rectangle 28"/>
            <p:cNvSpPr/>
            <p:nvPr/>
          </p:nvSpPr>
          <p:spPr bwMode="gray">
            <a:xfrm>
              <a:off x="1054100" y="3619500"/>
              <a:ext cx="815975" cy="133350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1600" dirty="0" smtClean="0">
                <a:solidFill>
                  <a:srgbClr val="FFFFFF"/>
                </a:solidFill>
                <a:latin typeface="Garamond" pitchFamily="18" charset="0"/>
              </a:endParaRPr>
            </a:p>
          </p:txBody>
        </p:sp>
        <p:sp>
          <p:nvSpPr>
            <p:cNvPr id="30" name="Rectangle 29"/>
            <p:cNvSpPr/>
            <p:nvPr/>
          </p:nvSpPr>
          <p:spPr bwMode="gray">
            <a:xfrm>
              <a:off x="6934200" y="3581400"/>
              <a:ext cx="815975" cy="133350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1600" dirty="0" smtClean="0">
                <a:solidFill>
                  <a:srgbClr val="FFFFFF"/>
                </a:solidFill>
                <a:latin typeface="Garamond" pitchFamily="18" charset="0"/>
              </a:endParaRPr>
            </a:p>
          </p:txBody>
        </p:sp>
      </p:grpSp>
      <p:sp>
        <p:nvSpPr>
          <p:cNvPr id="8" name="Footer Placeholder 7"/>
          <p:cNvSpPr>
            <a:spLocks noGrp="1"/>
          </p:cNvSpPr>
          <p:nvPr>
            <p:ph type="ftr" sz="quarter" idx="3"/>
            <p:custDataLst>
              <p:tags r:id="rId4"/>
            </p:custDataLst>
          </p:nvPr>
        </p:nvSpPr>
        <p:spPr bwMode="gray"/>
        <p:txBody>
          <a:bodyPr/>
          <a:lstStyle/>
          <a:p>
            <a:r>
              <a:rPr lang="en-US" dirty="0" smtClean="0"/>
              <a:t>neil young |neil@ogcommunicationdesign.com |www.ogcommunicationdesign.com</a:t>
            </a:r>
            <a:endParaRPr lang="en-US" dirty="0"/>
          </a:p>
        </p:txBody>
      </p:sp>
      <p:sp>
        <p:nvSpPr>
          <p:cNvPr id="5" name="Slide Number Placeholder 4"/>
          <p:cNvSpPr>
            <a:spLocks noGrp="1"/>
          </p:cNvSpPr>
          <p:nvPr>
            <p:ph type="sldNum" sz="quarter" idx="4"/>
            <p:custDataLst>
              <p:tags r:id="rId5"/>
            </p:custDataLst>
          </p:nvPr>
        </p:nvSpPr>
        <p:spPr bwMode="gray"/>
        <p:txBody>
          <a:bodyPr/>
          <a:lstStyle/>
          <a:p>
            <a:fld id="{27F67E6B-0F24-40AE-9272-914C56B63673}" type="slidenum">
              <a:rPr lang="en-AU" smtClean="0"/>
              <a:pPr/>
              <a:t>14</a:t>
            </a:fld>
            <a:r>
              <a:rPr lang="en-AU" dirty="0" smtClean="0"/>
              <a:t> </a:t>
            </a:r>
            <a:endParaRPr lang="en-AU" dirty="0"/>
          </a:p>
        </p:txBody>
      </p:sp>
      <p:sp>
        <p:nvSpPr>
          <p:cNvPr id="7" name="TextBox 6"/>
          <p:cNvSpPr txBox="1"/>
          <p:nvPr>
            <p:custDataLst>
              <p:tags r:id="rId6"/>
            </p:custDataLst>
          </p:nvPr>
        </p:nvSpPr>
        <p:spPr bwMode="gray">
          <a:xfrm>
            <a:off x="755338" y="1481982"/>
            <a:ext cx="7606753" cy="362896"/>
          </a:xfrm>
          <a:prstGeom prst="rect">
            <a:avLst/>
          </a:prstGeom>
          <a:noFill/>
        </p:spPr>
        <p:txBody>
          <a:bodyPr wrap="square" lIns="80147" tIns="40074" rIns="80147" bIns="40074" rtlCol="0">
            <a:spAutoFit/>
          </a:bodyPr>
          <a:lstStyle/>
          <a:p>
            <a:r>
              <a:rPr lang="en-ZW" dirty="0">
                <a:latin typeface="Garamond" pitchFamily="18" charset="0"/>
              </a:rPr>
              <a:t>Title – what are you showing on this page?</a:t>
            </a:r>
          </a:p>
        </p:txBody>
      </p:sp>
      <p:sp>
        <p:nvSpPr>
          <p:cNvPr id="9" name="Rectangle 4"/>
          <p:cNvSpPr>
            <a:spLocks noGrp="1" noChangeArrowheads="1"/>
          </p:cNvSpPr>
          <p:nvPr>
            <p:ph type="title"/>
            <p:custDataLst>
              <p:tags r:id="rId7"/>
            </p:custDataLst>
          </p:nvPr>
        </p:nvSpPr>
        <p:spPr bwMode="gray">
          <a:xfrm>
            <a:off x="730903" y="741792"/>
            <a:ext cx="7606753" cy="418726"/>
          </a:xfrm>
        </p:spPr>
        <p:txBody>
          <a:bodyPr/>
          <a:lstStyle/>
          <a:p>
            <a:r>
              <a:rPr lang="en-GB" dirty="0" smtClean="0"/>
              <a:t>Message title – </a:t>
            </a:r>
            <a:r>
              <a:rPr lang="en-US" dirty="0" smtClean="0"/>
              <a:t>why are you showing it? flow</a:t>
            </a:r>
            <a:endParaRPr lang="en-GB" dirty="0"/>
          </a:p>
        </p:txBody>
      </p:sp>
      <p:sp>
        <p:nvSpPr>
          <p:cNvPr id="26" name="Title 3"/>
          <p:cNvSpPr txBox="1">
            <a:spLocks/>
          </p:cNvSpPr>
          <p:nvPr>
            <p:custDataLst>
              <p:tags r:id="rId8"/>
            </p:custDataLst>
          </p:nvPr>
        </p:nvSpPr>
        <p:spPr>
          <a:xfrm>
            <a:off x="754204" y="5545148"/>
            <a:ext cx="6891495" cy="822961"/>
          </a:xfrm>
          <a:prstGeom prst="rect">
            <a:avLst/>
          </a:prstGeom>
        </p:spPr>
        <p:txBody>
          <a:bodyPr vert="horz" lIns="80133" tIns="40067" rIns="80133" bIns="40067" rtlCol="0" anchor="b" anchorCtr="0">
            <a:normAutofit/>
          </a:bodyPr>
          <a:lstStyle>
            <a:lvl1pPr algn="l" defTabSz="914239" rtl="0" eaLnBrk="1" latinLnBrk="0" hangingPunct="1">
              <a:spcBef>
                <a:spcPct val="0"/>
              </a:spcBef>
              <a:buNone/>
              <a:defRPr sz="2800" kern="1200">
                <a:solidFill>
                  <a:schemeClr val="accent1"/>
                </a:solidFill>
                <a:latin typeface="Garamond" pitchFamily="18" charset="0"/>
                <a:ea typeface="+mj-ea"/>
                <a:cs typeface="+mj-cs"/>
              </a:defRPr>
            </a:lvl1pPr>
          </a:lstStyle>
          <a:p>
            <a:r>
              <a:rPr lang="en-GB" sz="1200" dirty="0">
                <a:solidFill>
                  <a:schemeClr val="tx2"/>
                </a:solidFill>
              </a:rPr>
              <a:t>Footnotes and assumptions: list</a:t>
            </a:r>
          </a:p>
          <a:p>
            <a:r>
              <a:rPr lang="en-GB" sz="1200" dirty="0">
                <a:solidFill>
                  <a:schemeClr val="tx2"/>
                </a:solidFill>
              </a:rPr>
              <a:t>Source: List sources</a:t>
            </a:r>
          </a:p>
        </p:txBody>
      </p:sp>
      <p:sp>
        <p:nvSpPr>
          <p:cNvPr id="28" name="Text Box 7"/>
          <p:cNvSpPr txBox="1">
            <a:spLocks noChangeArrowheads="1"/>
          </p:cNvSpPr>
          <p:nvPr>
            <p:custDataLst>
              <p:tags r:id="rId9"/>
            </p:custDataLst>
          </p:nvPr>
        </p:nvSpPr>
        <p:spPr bwMode="auto">
          <a:xfrm>
            <a:off x="3828371" y="3199267"/>
            <a:ext cx="1144357" cy="307066"/>
          </a:xfrm>
          <a:prstGeom prst="rect">
            <a:avLst/>
          </a:prstGeom>
          <a:noFill/>
          <a:ln w="9525">
            <a:noFill/>
            <a:miter lim="800000"/>
            <a:headEnd/>
            <a:tailEnd/>
          </a:ln>
          <a:effectLst/>
        </p:spPr>
        <p:txBody>
          <a:bodyPr lIns="80147" tIns="40074" rIns="80147" bIns="40074">
            <a:prstTxWarp prst="textNoShape">
              <a:avLst/>
            </a:prstTxWarp>
            <a:spAutoFit/>
          </a:bodyPr>
          <a:lstStyle/>
          <a:p>
            <a:pPr algn="ctr"/>
            <a:r>
              <a:rPr lang="nb-NO" sz="1400" dirty="0">
                <a:solidFill>
                  <a:schemeClr val="bg1"/>
                </a:solidFill>
                <a:latin typeface="Garamond"/>
                <a:cs typeface="Garamond"/>
              </a:rPr>
              <a:t>Text</a:t>
            </a:r>
            <a:endParaRPr lang="en-US" sz="1400" dirty="0">
              <a:solidFill>
                <a:schemeClr val="bg1"/>
              </a:solidFill>
              <a:latin typeface="Garamond"/>
              <a:cs typeface="Garamond"/>
            </a:endParaRPr>
          </a:p>
        </p:txBody>
      </p:sp>
      <p:sp>
        <p:nvSpPr>
          <p:cNvPr id="32" name="Text Box 7"/>
          <p:cNvSpPr txBox="1">
            <a:spLocks noChangeArrowheads="1"/>
          </p:cNvSpPr>
          <p:nvPr>
            <p:custDataLst>
              <p:tags r:id="rId10"/>
            </p:custDataLst>
          </p:nvPr>
        </p:nvSpPr>
        <p:spPr bwMode="auto">
          <a:xfrm>
            <a:off x="1983107" y="4064224"/>
            <a:ext cx="1144357" cy="307066"/>
          </a:xfrm>
          <a:prstGeom prst="rect">
            <a:avLst/>
          </a:prstGeom>
          <a:noFill/>
          <a:ln w="9525">
            <a:noFill/>
            <a:miter lim="800000"/>
            <a:headEnd/>
            <a:tailEnd/>
          </a:ln>
          <a:effectLst/>
        </p:spPr>
        <p:txBody>
          <a:bodyPr lIns="80147" tIns="40074" rIns="80147" bIns="40074">
            <a:prstTxWarp prst="textNoShape">
              <a:avLst/>
            </a:prstTxWarp>
            <a:spAutoFit/>
          </a:bodyPr>
          <a:lstStyle/>
          <a:p>
            <a:r>
              <a:rPr lang="nb-NO" sz="1400" dirty="0">
                <a:solidFill>
                  <a:schemeClr val="bg1"/>
                </a:solidFill>
                <a:latin typeface="Garamond"/>
                <a:cs typeface="Garamond"/>
              </a:rPr>
              <a:t>Text</a:t>
            </a:r>
            <a:endParaRPr lang="en-US" sz="1400" dirty="0">
              <a:solidFill>
                <a:schemeClr val="bg1"/>
              </a:solidFill>
              <a:latin typeface="Garamond"/>
              <a:cs typeface="Garamond"/>
            </a:endParaRPr>
          </a:p>
        </p:txBody>
      </p:sp>
      <p:sp>
        <p:nvSpPr>
          <p:cNvPr id="33" name="Text Box 7"/>
          <p:cNvSpPr txBox="1">
            <a:spLocks noChangeArrowheads="1"/>
          </p:cNvSpPr>
          <p:nvPr>
            <p:custDataLst>
              <p:tags r:id="rId11"/>
            </p:custDataLst>
          </p:nvPr>
        </p:nvSpPr>
        <p:spPr bwMode="auto">
          <a:xfrm>
            <a:off x="1983107" y="3750124"/>
            <a:ext cx="1144357" cy="307066"/>
          </a:xfrm>
          <a:prstGeom prst="rect">
            <a:avLst/>
          </a:prstGeom>
          <a:noFill/>
          <a:ln w="9525">
            <a:noFill/>
            <a:miter lim="800000"/>
            <a:headEnd/>
            <a:tailEnd/>
          </a:ln>
          <a:effectLst/>
        </p:spPr>
        <p:txBody>
          <a:bodyPr lIns="80147" tIns="40074" rIns="80147" bIns="40074">
            <a:prstTxWarp prst="textNoShape">
              <a:avLst/>
            </a:prstTxWarp>
            <a:spAutoFit/>
          </a:bodyPr>
          <a:lstStyle/>
          <a:p>
            <a:r>
              <a:rPr lang="nb-NO" sz="1400" dirty="0">
                <a:solidFill>
                  <a:schemeClr val="bg1"/>
                </a:solidFill>
                <a:latin typeface="Garamond"/>
                <a:cs typeface="Garamond"/>
              </a:rPr>
              <a:t>Text</a:t>
            </a:r>
            <a:endParaRPr lang="en-US" sz="1400" dirty="0">
              <a:solidFill>
                <a:schemeClr val="bg1"/>
              </a:solidFill>
              <a:latin typeface="Garamond"/>
              <a:cs typeface="Garamond"/>
            </a:endParaRPr>
          </a:p>
        </p:txBody>
      </p:sp>
      <p:sp>
        <p:nvSpPr>
          <p:cNvPr id="34" name="Text Box 7"/>
          <p:cNvSpPr txBox="1">
            <a:spLocks noChangeArrowheads="1"/>
          </p:cNvSpPr>
          <p:nvPr>
            <p:custDataLst>
              <p:tags r:id="rId12"/>
            </p:custDataLst>
          </p:nvPr>
        </p:nvSpPr>
        <p:spPr bwMode="auto">
          <a:xfrm>
            <a:off x="1983107" y="4416426"/>
            <a:ext cx="1144357" cy="307066"/>
          </a:xfrm>
          <a:prstGeom prst="rect">
            <a:avLst/>
          </a:prstGeom>
          <a:noFill/>
          <a:ln w="9525">
            <a:noFill/>
            <a:miter lim="800000"/>
            <a:headEnd/>
            <a:tailEnd/>
          </a:ln>
          <a:effectLst/>
        </p:spPr>
        <p:txBody>
          <a:bodyPr lIns="80147" tIns="40074" rIns="80147" bIns="40074">
            <a:prstTxWarp prst="textNoShape">
              <a:avLst/>
            </a:prstTxWarp>
            <a:spAutoFit/>
          </a:bodyPr>
          <a:lstStyle/>
          <a:p>
            <a:r>
              <a:rPr lang="nb-NO" sz="1400" dirty="0">
                <a:solidFill>
                  <a:schemeClr val="bg1"/>
                </a:solidFill>
                <a:latin typeface="Garamond"/>
                <a:cs typeface="Garamond"/>
              </a:rPr>
              <a:t>Text</a:t>
            </a:r>
            <a:endParaRPr lang="en-US" sz="1400" dirty="0">
              <a:solidFill>
                <a:schemeClr val="bg1"/>
              </a:solidFill>
              <a:latin typeface="Garamond"/>
              <a:cs typeface="Garamond"/>
            </a:endParaRPr>
          </a:p>
        </p:txBody>
      </p:sp>
      <p:sp>
        <p:nvSpPr>
          <p:cNvPr id="35" name="Text Box 7"/>
          <p:cNvSpPr txBox="1">
            <a:spLocks noChangeArrowheads="1"/>
          </p:cNvSpPr>
          <p:nvPr>
            <p:custDataLst>
              <p:tags r:id="rId13"/>
            </p:custDataLst>
          </p:nvPr>
        </p:nvSpPr>
        <p:spPr bwMode="auto">
          <a:xfrm>
            <a:off x="5678784" y="4064224"/>
            <a:ext cx="1144357" cy="307066"/>
          </a:xfrm>
          <a:prstGeom prst="rect">
            <a:avLst/>
          </a:prstGeom>
          <a:noFill/>
          <a:ln w="9525">
            <a:noFill/>
            <a:miter lim="800000"/>
            <a:headEnd/>
            <a:tailEnd/>
          </a:ln>
          <a:effectLst/>
        </p:spPr>
        <p:txBody>
          <a:bodyPr lIns="80147" tIns="40074" rIns="80147" bIns="40074">
            <a:prstTxWarp prst="textNoShape">
              <a:avLst/>
            </a:prstTxWarp>
            <a:spAutoFit/>
          </a:bodyPr>
          <a:lstStyle/>
          <a:p>
            <a:pPr algn="r"/>
            <a:r>
              <a:rPr lang="nb-NO" sz="1400" dirty="0">
                <a:solidFill>
                  <a:schemeClr val="bg1"/>
                </a:solidFill>
                <a:latin typeface="Garamond"/>
                <a:cs typeface="Garamond"/>
              </a:rPr>
              <a:t>Text</a:t>
            </a:r>
            <a:endParaRPr lang="en-US" sz="1400" dirty="0">
              <a:solidFill>
                <a:schemeClr val="bg1"/>
              </a:solidFill>
              <a:latin typeface="Garamond"/>
              <a:cs typeface="Garamond"/>
            </a:endParaRPr>
          </a:p>
        </p:txBody>
      </p:sp>
      <p:sp>
        <p:nvSpPr>
          <p:cNvPr id="36" name="Text Box 7"/>
          <p:cNvSpPr txBox="1">
            <a:spLocks noChangeArrowheads="1"/>
          </p:cNvSpPr>
          <p:nvPr>
            <p:custDataLst>
              <p:tags r:id="rId14"/>
            </p:custDataLst>
          </p:nvPr>
        </p:nvSpPr>
        <p:spPr bwMode="auto">
          <a:xfrm>
            <a:off x="5678784" y="3750124"/>
            <a:ext cx="1144357" cy="307066"/>
          </a:xfrm>
          <a:prstGeom prst="rect">
            <a:avLst/>
          </a:prstGeom>
          <a:noFill/>
          <a:ln w="9525">
            <a:noFill/>
            <a:miter lim="800000"/>
            <a:headEnd/>
            <a:tailEnd/>
          </a:ln>
          <a:effectLst/>
        </p:spPr>
        <p:txBody>
          <a:bodyPr lIns="80147" tIns="40074" rIns="80147" bIns="40074">
            <a:prstTxWarp prst="textNoShape">
              <a:avLst/>
            </a:prstTxWarp>
            <a:spAutoFit/>
          </a:bodyPr>
          <a:lstStyle/>
          <a:p>
            <a:pPr algn="r"/>
            <a:r>
              <a:rPr lang="nb-NO" sz="1400" dirty="0">
                <a:solidFill>
                  <a:schemeClr val="bg1"/>
                </a:solidFill>
                <a:latin typeface="Garamond"/>
                <a:cs typeface="Garamond"/>
              </a:rPr>
              <a:t>Text</a:t>
            </a:r>
            <a:endParaRPr lang="en-US" sz="1400" dirty="0">
              <a:solidFill>
                <a:schemeClr val="bg1"/>
              </a:solidFill>
              <a:latin typeface="Garamond"/>
              <a:cs typeface="Garamond"/>
            </a:endParaRPr>
          </a:p>
        </p:txBody>
      </p:sp>
      <p:sp>
        <p:nvSpPr>
          <p:cNvPr id="37" name="Text Box 7"/>
          <p:cNvSpPr txBox="1">
            <a:spLocks noChangeArrowheads="1"/>
          </p:cNvSpPr>
          <p:nvPr>
            <p:custDataLst>
              <p:tags r:id="rId15"/>
            </p:custDataLst>
          </p:nvPr>
        </p:nvSpPr>
        <p:spPr bwMode="auto">
          <a:xfrm>
            <a:off x="5678784" y="4416426"/>
            <a:ext cx="1144357" cy="307066"/>
          </a:xfrm>
          <a:prstGeom prst="rect">
            <a:avLst/>
          </a:prstGeom>
          <a:noFill/>
          <a:ln w="9525">
            <a:noFill/>
            <a:miter lim="800000"/>
            <a:headEnd/>
            <a:tailEnd/>
          </a:ln>
          <a:effectLst/>
        </p:spPr>
        <p:txBody>
          <a:bodyPr lIns="80147" tIns="40074" rIns="80147" bIns="40074">
            <a:prstTxWarp prst="textNoShape">
              <a:avLst/>
            </a:prstTxWarp>
            <a:spAutoFit/>
          </a:bodyPr>
          <a:lstStyle/>
          <a:p>
            <a:pPr algn="r"/>
            <a:r>
              <a:rPr lang="nb-NO" sz="1400" dirty="0">
                <a:solidFill>
                  <a:schemeClr val="bg1"/>
                </a:solidFill>
                <a:latin typeface="Garamond"/>
                <a:cs typeface="Garamond"/>
              </a:rPr>
              <a:t>Text</a:t>
            </a:r>
            <a:endParaRPr lang="en-US" sz="1400" dirty="0">
              <a:solidFill>
                <a:schemeClr val="bg1"/>
              </a:solidFill>
              <a:latin typeface="Garamond"/>
              <a:cs typeface="Garamond"/>
            </a:endParaRPr>
          </a:p>
        </p:txBody>
      </p:sp>
    </p:spTree>
    <p:extLst>
      <p:ext uri="{BB962C8B-B14F-4D97-AF65-F5344CB8AC3E}">
        <p14:creationId xmlns:p14="http://schemas.microsoft.com/office/powerpoint/2010/main" val="23561821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2006725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77" name="think-cell Slide" r:id="rId12" imgW="6350000" imgH="6350000" progId="TCLayout.ActiveDocument.1">
                  <p:embed/>
                </p:oleObj>
              </mc:Choice>
              <mc:Fallback>
                <p:oleObj name="think-cell Slide" r:id="rId12" imgW="6350000" imgH="6350000" progId="TCLayout.ActiveDocument.1">
                  <p:embed/>
                  <p:pic>
                    <p:nvPicPr>
                      <p:cNvPr id="0" name="Picture 10"/>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 name="AutoShape 3"/>
          <p:cNvSpPr>
            <a:spLocks noChangeArrowheads="1"/>
          </p:cNvSpPr>
          <p:nvPr/>
        </p:nvSpPr>
        <p:spPr bwMode="auto">
          <a:xfrm>
            <a:off x="2106812" y="2704195"/>
            <a:ext cx="5462509" cy="1767272"/>
          </a:xfrm>
          <a:prstGeom prst="rightArrow">
            <a:avLst>
              <a:gd name="adj1" fmla="val 61028"/>
              <a:gd name="adj2" fmla="val 52836"/>
            </a:avLst>
          </a:prstGeom>
          <a:solidFill>
            <a:schemeClr val="accent1"/>
          </a:solidFill>
          <a:ln w="9525">
            <a:noFill/>
            <a:miter lim="800000"/>
            <a:headEnd/>
            <a:tailEnd/>
          </a:ln>
          <a:effectLst/>
        </p:spPr>
        <p:txBody>
          <a:bodyPr wrap="none" anchor="ctr">
            <a:prstTxWarp prst="textNoShape">
              <a:avLst/>
            </a:prstTxWarp>
          </a:bodyPr>
          <a:lstStyle/>
          <a:p>
            <a:endParaRPr lang="en-AU" sz="1400" dirty="0">
              <a:solidFill>
                <a:schemeClr val="bg1"/>
              </a:solidFill>
              <a:latin typeface="Garamond"/>
            </a:endParaRPr>
          </a:p>
        </p:txBody>
      </p:sp>
      <p:sp>
        <p:nvSpPr>
          <p:cNvPr id="29" name="Right Triangle 28"/>
          <p:cNvSpPr/>
          <p:nvPr/>
        </p:nvSpPr>
        <p:spPr>
          <a:xfrm rot="18794353">
            <a:off x="2231001" y="1808394"/>
            <a:ext cx="1363759" cy="1446506"/>
          </a:xfrm>
          <a:prstGeom prst="rtTriangle">
            <a:avLst/>
          </a:prstGeom>
          <a:solidFill>
            <a:schemeClr val="tx2"/>
          </a:solidFill>
          <a:ln w="9525">
            <a:solidFill>
              <a:schemeClr val="bg1"/>
            </a:solidFill>
            <a:miter lim="800000"/>
            <a:headEnd/>
            <a:tailEnd/>
          </a:ln>
          <a:effectLst/>
        </p:spPr>
        <p:txBody>
          <a:bodyPr lIns="80147" tIns="40074" rIns="80147" bIns="40074">
            <a:prstTxWarp prst="textNoShape">
              <a:avLst/>
            </a:prstTxWarp>
          </a:bodyPr>
          <a:lstStyle/>
          <a:p>
            <a:pPr indent="-269827"/>
            <a:endParaRPr lang="en-GB" sz="1600" dirty="0">
              <a:solidFill>
                <a:schemeClr val="bg1"/>
              </a:solidFill>
              <a:latin typeface="Garamond"/>
            </a:endParaRPr>
          </a:p>
        </p:txBody>
      </p:sp>
      <p:sp>
        <p:nvSpPr>
          <p:cNvPr id="30" name="Right Triangle 29"/>
          <p:cNvSpPr/>
          <p:nvPr/>
        </p:nvSpPr>
        <p:spPr>
          <a:xfrm rot="2797186" flipV="1">
            <a:off x="2231001" y="3869963"/>
            <a:ext cx="1363759" cy="1446506"/>
          </a:xfrm>
          <a:prstGeom prst="rtTriangle">
            <a:avLst/>
          </a:prstGeom>
          <a:solidFill>
            <a:schemeClr val="tx2"/>
          </a:solidFill>
          <a:ln w="9525">
            <a:solidFill>
              <a:schemeClr val="bg1"/>
            </a:solidFill>
            <a:miter lim="800000"/>
            <a:headEnd/>
            <a:tailEnd/>
          </a:ln>
          <a:effectLst/>
        </p:spPr>
        <p:txBody>
          <a:bodyPr lIns="80147" tIns="40074" rIns="80147" bIns="40074">
            <a:prstTxWarp prst="textNoShape">
              <a:avLst/>
            </a:prstTxWarp>
          </a:bodyPr>
          <a:lstStyle/>
          <a:p>
            <a:pPr indent="-269827"/>
            <a:endParaRPr lang="en-GB" sz="1600" dirty="0">
              <a:solidFill>
                <a:schemeClr val="bg1"/>
              </a:solidFill>
              <a:latin typeface="Garamond"/>
            </a:endParaRPr>
          </a:p>
        </p:txBody>
      </p:sp>
      <p:sp>
        <p:nvSpPr>
          <p:cNvPr id="31" name="Right Triangle 30"/>
          <p:cNvSpPr/>
          <p:nvPr/>
        </p:nvSpPr>
        <p:spPr>
          <a:xfrm rot="8066238" flipV="1">
            <a:off x="1119361" y="2905952"/>
            <a:ext cx="1446506" cy="1363759"/>
          </a:xfrm>
          <a:prstGeom prst="rtTriangle">
            <a:avLst/>
          </a:prstGeom>
          <a:solidFill>
            <a:schemeClr val="tx2"/>
          </a:solidFill>
          <a:ln w="9525">
            <a:solidFill>
              <a:schemeClr val="bg1"/>
            </a:solidFill>
            <a:miter lim="800000"/>
            <a:headEnd/>
            <a:tailEnd/>
          </a:ln>
          <a:effectLst/>
        </p:spPr>
        <p:txBody>
          <a:bodyPr lIns="80147" tIns="40074" rIns="80147" bIns="40074">
            <a:prstTxWarp prst="textNoShape">
              <a:avLst/>
            </a:prstTxWarp>
          </a:bodyPr>
          <a:lstStyle/>
          <a:p>
            <a:pPr indent="-269827"/>
            <a:endParaRPr lang="en-GB" sz="1600" dirty="0">
              <a:solidFill>
                <a:schemeClr val="bg1"/>
              </a:solidFill>
              <a:latin typeface="Garamond"/>
            </a:endParaRPr>
          </a:p>
        </p:txBody>
      </p:sp>
      <p:sp>
        <p:nvSpPr>
          <p:cNvPr id="25" name="Text Box 7"/>
          <p:cNvSpPr txBox="1">
            <a:spLocks noChangeArrowheads="1"/>
          </p:cNvSpPr>
          <p:nvPr>
            <p:custDataLst>
              <p:tags r:id="rId3"/>
            </p:custDataLst>
          </p:nvPr>
        </p:nvSpPr>
        <p:spPr bwMode="auto">
          <a:xfrm>
            <a:off x="2340702" y="2668966"/>
            <a:ext cx="1144357" cy="307066"/>
          </a:xfrm>
          <a:prstGeom prst="rect">
            <a:avLst/>
          </a:prstGeom>
          <a:noFill/>
          <a:ln w="9525">
            <a:noFill/>
            <a:miter lim="800000"/>
            <a:headEnd/>
            <a:tailEnd/>
          </a:ln>
          <a:effectLst/>
        </p:spPr>
        <p:txBody>
          <a:bodyPr lIns="80147" tIns="40074" rIns="80147" bIns="40074">
            <a:prstTxWarp prst="textNoShape">
              <a:avLst/>
            </a:prstTxWarp>
            <a:spAutoFit/>
          </a:bodyPr>
          <a:lstStyle/>
          <a:p>
            <a:pPr algn="ctr"/>
            <a:r>
              <a:rPr lang="nb-NO" sz="1400" dirty="0">
                <a:solidFill>
                  <a:schemeClr val="bg1"/>
                </a:solidFill>
                <a:latin typeface="Garamond"/>
                <a:cs typeface="Garamond"/>
              </a:rPr>
              <a:t>Text</a:t>
            </a:r>
            <a:endParaRPr lang="en-US" sz="1400" dirty="0">
              <a:solidFill>
                <a:schemeClr val="bg1"/>
              </a:solidFill>
              <a:latin typeface="Garamond"/>
              <a:cs typeface="Garamond"/>
            </a:endParaRPr>
          </a:p>
        </p:txBody>
      </p:sp>
      <p:sp>
        <p:nvSpPr>
          <p:cNvPr id="26" name="Text Box 7"/>
          <p:cNvSpPr txBox="1">
            <a:spLocks noChangeArrowheads="1"/>
          </p:cNvSpPr>
          <p:nvPr>
            <p:custDataLst>
              <p:tags r:id="rId4"/>
            </p:custDataLst>
          </p:nvPr>
        </p:nvSpPr>
        <p:spPr bwMode="auto">
          <a:xfrm>
            <a:off x="2340702" y="4079437"/>
            <a:ext cx="1144357" cy="307066"/>
          </a:xfrm>
          <a:prstGeom prst="rect">
            <a:avLst/>
          </a:prstGeom>
          <a:noFill/>
          <a:ln w="9525">
            <a:noFill/>
            <a:miter lim="800000"/>
            <a:headEnd/>
            <a:tailEnd/>
          </a:ln>
          <a:effectLst/>
        </p:spPr>
        <p:txBody>
          <a:bodyPr lIns="80147" tIns="40074" rIns="80147" bIns="40074" anchor="b" anchorCtr="0">
            <a:prstTxWarp prst="textNoShape">
              <a:avLst/>
            </a:prstTxWarp>
            <a:spAutoFit/>
          </a:bodyPr>
          <a:lstStyle/>
          <a:p>
            <a:pPr algn="ctr"/>
            <a:r>
              <a:rPr lang="nb-NO" sz="1400" dirty="0">
                <a:solidFill>
                  <a:srgbClr val="FFFFFF"/>
                </a:solidFill>
                <a:latin typeface="Garamond"/>
                <a:cs typeface="Garamond"/>
              </a:rPr>
              <a:t>Text</a:t>
            </a:r>
            <a:endParaRPr lang="en-US" sz="1400" dirty="0">
              <a:solidFill>
                <a:srgbClr val="FFFFFF"/>
              </a:solidFill>
              <a:latin typeface="Garamond"/>
              <a:cs typeface="Garamond"/>
            </a:endParaRPr>
          </a:p>
        </p:txBody>
      </p:sp>
      <p:sp>
        <p:nvSpPr>
          <p:cNvPr id="27" name="Text Box 8"/>
          <p:cNvSpPr txBox="1">
            <a:spLocks noChangeArrowheads="1"/>
          </p:cNvSpPr>
          <p:nvPr>
            <p:custDataLst>
              <p:tags r:id="rId5"/>
            </p:custDataLst>
          </p:nvPr>
        </p:nvSpPr>
        <p:spPr bwMode="auto">
          <a:xfrm>
            <a:off x="1858394" y="3434298"/>
            <a:ext cx="777837" cy="307066"/>
          </a:xfrm>
          <a:prstGeom prst="rect">
            <a:avLst/>
          </a:prstGeom>
          <a:noFill/>
          <a:ln w="9525">
            <a:noFill/>
            <a:miter lim="800000"/>
            <a:headEnd/>
            <a:tailEnd/>
          </a:ln>
          <a:effectLst/>
        </p:spPr>
        <p:txBody>
          <a:bodyPr wrap="square" lIns="80147" tIns="40074" rIns="80147" bIns="40074" anchor="ctr" anchorCtr="0">
            <a:prstTxWarp prst="textNoShape">
              <a:avLst/>
            </a:prstTxWarp>
            <a:spAutoFit/>
          </a:bodyPr>
          <a:lstStyle/>
          <a:p>
            <a:pPr algn="ctr"/>
            <a:r>
              <a:rPr lang="nb-NO" sz="1400" dirty="0">
                <a:solidFill>
                  <a:schemeClr val="bg1"/>
                </a:solidFill>
                <a:latin typeface="Garamond"/>
                <a:cs typeface="Garamond"/>
              </a:rPr>
              <a:t>Text</a:t>
            </a:r>
            <a:endParaRPr lang="en-US" sz="1400" dirty="0">
              <a:solidFill>
                <a:schemeClr val="bg1"/>
              </a:solidFill>
              <a:latin typeface="Garamond"/>
              <a:cs typeface="Garamond"/>
            </a:endParaRPr>
          </a:p>
        </p:txBody>
      </p:sp>
      <p:sp>
        <p:nvSpPr>
          <p:cNvPr id="19" name="Text Box 9"/>
          <p:cNvSpPr txBox="1">
            <a:spLocks noChangeArrowheads="1"/>
          </p:cNvSpPr>
          <p:nvPr>
            <p:custDataLst>
              <p:tags r:id="rId6"/>
            </p:custDataLst>
          </p:nvPr>
        </p:nvSpPr>
        <p:spPr bwMode="auto">
          <a:xfrm>
            <a:off x="3711357" y="3435207"/>
            <a:ext cx="2253420" cy="307066"/>
          </a:xfrm>
          <a:prstGeom prst="rect">
            <a:avLst/>
          </a:prstGeom>
          <a:noFill/>
          <a:ln w="9525">
            <a:noFill/>
            <a:miter lim="800000"/>
            <a:headEnd/>
            <a:tailEnd/>
          </a:ln>
          <a:effectLst/>
        </p:spPr>
        <p:txBody>
          <a:bodyPr lIns="80147" tIns="40074" rIns="80147" bIns="40074">
            <a:prstTxWarp prst="textNoShape">
              <a:avLst/>
            </a:prstTxWarp>
            <a:spAutoFit/>
          </a:bodyPr>
          <a:lstStyle/>
          <a:p>
            <a:r>
              <a:rPr lang="nb-NO" sz="1400" dirty="0">
                <a:solidFill>
                  <a:schemeClr val="bg1"/>
                </a:solidFill>
                <a:latin typeface="Garamond"/>
              </a:rPr>
              <a:t>Text</a:t>
            </a:r>
            <a:endParaRPr lang="en-US" sz="1400" dirty="0">
              <a:solidFill>
                <a:schemeClr val="bg1"/>
              </a:solidFill>
              <a:latin typeface="Garamond"/>
            </a:endParaRPr>
          </a:p>
        </p:txBody>
      </p:sp>
      <p:sp>
        <p:nvSpPr>
          <p:cNvPr id="33" name="Title 3"/>
          <p:cNvSpPr txBox="1">
            <a:spLocks/>
          </p:cNvSpPr>
          <p:nvPr>
            <p:custDataLst>
              <p:tags r:id="rId7"/>
            </p:custDataLst>
          </p:nvPr>
        </p:nvSpPr>
        <p:spPr>
          <a:xfrm>
            <a:off x="754204" y="5545148"/>
            <a:ext cx="6891495" cy="822961"/>
          </a:xfrm>
          <a:prstGeom prst="rect">
            <a:avLst/>
          </a:prstGeom>
        </p:spPr>
        <p:txBody>
          <a:bodyPr vert="horz" lIns="80133" tIns="40067" rIns="80133" bIns="40067" rtlCol="0" anchor="b" anchorCtr="0">
            <a:normAutofit/>
          </a:bodyPr>
          <a:lstStyle>
            <a:lvl1pPr algn="l" defTabSz="914239" rtl="0" eaLnBrk="1" latinLnBrk="0" hangingPunct="1">
              <a:spcBef>
                <a:spcPct val="0"/>
              </a:spcBef>
              <a:buNone/>
              <a:defRPr sz="2800" kern="1200">
                <a:solidFill>
                  <a:schemeClr val="accent1"/>
                </a:solidFill>
                <a:latin typeface="Garamond" pitchFamily="18" charset="0"/>
                <a:ea typeface="+mj-ea"/>
                <a:cs typeface="+mj-cs"/>
              </a:defRPr>
            </a:lvl1pPr>
          </a:lstStyle>
          <a:p>
            <a:r>
              <a:rPr lang="en-GB" sz="1200" dirty="0">
                <a:solidFill>
                  <a:schemeClr val="tx2"/>
                </a:solidFill>
              </a:rPr>
              <a:t>Footnotes and assumptions: list</a:t>
            </a:r>
          </a:p>
          <a:p>
            <a:r>
              <a:rPr lang="en-GB" sz="1200" dirty="0">
                <a:solidFill>
                  <a:schemeClr val="tx2"/>
                </a:solidFill>
              </a:rPr>
              <a:t>Source: List sources</a:t>
            </a:r>
          </a:p>
        </p:txBody>
      </p:sp>
      <p:sp>
        <p:nvSpPr>
          <p:cNvPr id="34" name="Rectangle 4"/>
          <p:cNvSpPr>
            <a:spLocks noGrp="1" noChangeArrowheads="1"/>
          </p:cNvSpPr>
          <p:nvPr>
            <p:ph type="title"/>
            <p:custDataLst>
              <p:tags r:id="rId8"/>
            </p:custDataLst>
          </p:nvPr>
        </p:nvSpPr>
        <p:spPr/>
        <p:txBody>
          <a:bodyPr/>
          <a:lstStyle/>
          <a:p>
            <a:r>
              <a:rPr lang="en-GB" dirty="0" smtClean="0"/>
              <a:t>Message title – </a:t>
            </a:r>
            <a:r>
              <a:rPr lang="en-US" dirty="0" smtClean="0"/>
              <a:t>why are you showing it? flow</a:t>
            </a:r>
            <a:endParaRPr lang="en-GB" dirty="0"/>
          </a:p>
        </p:txBody>
      </p:sp>
      <p:sp>
        <p:nvSpPr>
          <p:cNvPr id="5" name="Footer Placeholder 4"/>
          <p:cNvSpPr>
            <a:spLocks noGrp="1"/>
          </p:cNvSpPr>
          <p:nvPr>
            <p:ph type="ftr" sz="quarter" idx="3"/>
          </p:nvPr>
        </p:nvSpPr>
        <p:spPr/>
        <p:txBody>
          <a:bodyPr/>
          <a:lstStyle/>
          <a:p>
            <a:r>
              <a:rPr lang="en-US" dirty="0" smtClean="0"/>
              <a:t>neil young |neil@ogcommunicationdesign.com |www.ogcommunicationdesign.com</a:t>
            </a:r>
            <a:endParaRPr lang="en-US" dirty="0"/>
          </a:p>
        </p:txBody>
      </p:sp>
      <p:sp>
        <p:nvSpPr>
          <p:cNvPr id="36" name="Slide Number Placeholder 1"/>
          <p:cNvSpPr>
            <a:spLocks noGrp="1"/>
          </p:cNvSpPr>
          <p:nvPr>
            <p:ph type="sldNum" sz="quarter" idx="4"/>
            <p:custDataLst>
              <p:tags r:id="rId9"/>
            </p:custDataLst>
          </p:nvPr>
        </p:nvSpPr>
        <p:spPr/>
        <p:txBody>
          <a:bodyPr/>
          <a:lstStyle/>
          <a:p>
            <a:fld id="{9EA32989-03B0-4860-BCBF-38A6D1811E33}" type="slidenum">
              <a:rPr lang="en-GB" smtClean="0"/>
              <a:pPr/>
              <a:t>15</a:t>
            </a:fld>
            <a:endParaRPr lang="en-GB" dirty="0"/>
          </a:p>
        </p:txBody>
      </p:sp>
      <p:sp>
        <p:nvSpPr>
          <p:cNvPr id="16" name="TextBox 15"/>
          <p:cNvSpPr txBox="1"/>
          <p:nvPr>
            <p:custDataLst>
              <p:tags r:id="rId10"/>
            </p:custDataLst>
          </p:nvPr>
        </p:nvSpPr>
        <p:spPr>
          <a:xfrm>
            <a:off x="755338" y="1481982"/>
            <a:ext cx="7606753" cy="362896"/>
          </a:xfrm>
          <a:prstGeom prst="rect">
            <a:avLst/>
          </a:prstGeom>
          <a:noFill/>
        </p:spPr>
        <p:txBody>
          <a:bodyPr wrap="square" lIns="80147" tIns="40074" rIns="80147" bIns="40074" rtlCol="0">
            <a:spAutoFit/>
          </a:bodyPr>
          <a:lstStyle/>
          <a:p>
            <a:r>
              <a:rPr lang="en-ZW" dirty="0">
                <a:latin typeface="Garamond" pitchFamily="18" charset="0"/>
              </a:rPr>
              <a:t>Title – what are you showing on this page?</a:t>
            </a:r>
          </a:p>
        </p:txBody>
      </p:sp>
    </p:spTree>
    <p:extLst>
      <p:ext uri="{BB962C8B-B14F-4D97-AF65-F5344CB8AC3E}">
        <p14:creationId xmlns:p14="http://schemas.microsoft.com/office/powerpoint/2010/main" val="127169332"/>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0613400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97" name="think-cell Slide" r:id="rId8" imgW="6350000" imgH="6350000" progId="TCLayout.ActiveDocument.1">
                  <p:embed/>
                </p:oleObj>
              </mc:Choice>
              <mc:Fallback>
                <p:oleObj name="think-cell Slide" r:id="rId8" imgW="6350000" imgH="6350000" progId="TCLayout.ActiveDocument.1">
                  <p:embed/>
                  <p:pic>
                    <p:nvPicPr>
                      <p:cNvPr id="0" name="Picture 10"/>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Group 4"/>
          <p:cNvGrpSpPr>
            <a:grpSpLocks/>
          </p:cNvGrpSpPr>
          <p:nvPr/>
        </p:nvGrpSpPr>
        <p:grpSpPr bwMode="auto">
          <a:xfrm>
            <a:off x="1919817" y="2440321"/>
            <a:ext cx="5388867" cy="2923835"/>
            <a:chOff x="1152" y="1680"/>
            <a:chExt cx="4263" cy="2383"/>
          </a:xfrm>
          <a:solidFill>
            <a:srgbClr val="FFFFFF"/>
          </a:solidFill>
        </p:grpSpPr>
        <p:sp>
          <p:nvSpPr>
            <p:cNvPr id="19" name="Freeform 5"/>
            <p:cNvSpPr>
              <a:spLocks/>
            </p:cNvSpPr>
            <p:nvPr/>
          </p:nvSpPr>
          <p:spPr bwMode="auto">
            <a:xfrm>
              <a:off x="1152" y="1680"/>
              <a:ext cx="3559" cy="896"/>
            </a:xfrm>
            <a:custGeom>
              <a:avLst/>
              <a:gdLst/>
              <a:ahLst/>
              <a:cxnLst>
                <a:cxn ang="0">
                  <a:pos x="0" y="496"/>
                </a:cxn>
                <a:cxn ang="0">
                  <a:pos x="2943" y="496"/>
                </a:cxn>
                <a:cxn ang="0">
                  <a:pos x="2663" y="0"/>
                </a:cxn>
                <a:cxn ang="0">
                  <a:pos x="3063" y="0"/>
                </a:cxn>
                <a:cxn ang="0">
                  <a:pos x="3558" y="895"/>
                </a:cxn>
                <a:cxn ang="0">
                  <a:pos x="0" y="895"/>
                </a:cxn>
              </a:cxnLst>
              <a:rect l="0" t="0" r="r" b="b"/>
              <a:pathLst>
                <a:path w="3559" h="896">
                  <a:moveTo>
                    <a:pt x="0" y="496"/>
                  </a:moveTo>
                  <a:lnTo>
                    <a:pt x="2943" y="496"/>
                  </a:lnTo>
                  <a:lnTo>
                    <a:pt x="2663" y="0"/>
                  </a:lnTo>
                  <a:lnTo>
                    <a:pt x="3063" y="0"/>
                  </a:lnTo>
                  <a:lnTo>
                    <a:pt x="3558" y="895"/>
                  </a:lnTo>
                  <a:lnTo>
                    <a:pt x="0" y="895"/>
                  </a:lnTo>
                </a:path>
              </a:pathLst>
            </a:custGeom>
            <a:solidFill>
              <a:schemeClr val="tx2"/>
            </a:solidFill>
            <a:ln w="9525">
              <a:solidFill>
                <a:schemeClr val="bg1"/>
              </a:solidFill>
              <a:miter lim="800000"/>
              <a:headEnd/>
              <a:tailEnd/>
            </a:ln>
            <a:effectLst/>
          </p:spPr>
          <p:txBody>
            <a:bodyPr lIns="80147" tIns="40074" rIns="80147" bIns="40074">
              <a:prstTxWarp prst="textNoShape">
                <a:avLst/>
              </a:prstTxWarp>
            </a:bodyPr>
            <a:lstStyle/>
            <a:p>
              <a:pPr indent="-269827"/>
              <a:endParaRPr lang="en-GB" sz="1600" dirty="0">
                <a:solidFill>
                  <a:schemeClr val="bg1"/>
                </a:solidFill>
                <a:latin typeface="Garamond"/>
              </a:endParaRPr>
            </a:p>
          </p:txBody>
        </p:sp>
        <p:sp>
          <p:nvSpPr>
            <p:cNvPr id="22" name="Freeform 6"/>
            <p:cNvSpPr>
              <a:spLocks/>
            </p:cNvSpPr>
            <p:nvPr/>
          </p:nvSpPr>
          <p:spPr bwMode="auto">
            <a:xfrm>
              <a:off x="1152" y="3167"/>
              <a:ext cx="3559" cy="896"/>
            </a:xfrm>
            <a:custGeom>
              <a:avLst/>
              <a:gdLst/>
              <a:ahLst/>
              <a:cxnLst>
                <a:cxn ang="0">
                  <a:pos x="0" y="399"/>
                </a:cxn>
                <a:cxn ang="0">
                  <a:pos x="2943" y="399"/>
                </a:cxn>
                <a:cxn ang="0">
                  <a:pos x="2687" y="895"/>
                </a:cxn>
                <a:cxn ang="0">
                  <a:pos x="3087" y="895"/>
                </a:cxn>
                <a:cxn ang="0">
                  <a:pos x="3558" y="0"/>
                </a:cxn>
                <a:cxn ang="0">
                  <a:pos x="0" y="0"/>
                </a:cxn>
              </a:cxnLst>
              <a:rect l="0" t="0" r="r" b="b"/>
              <a:pathLst>
                <a:path w="3559" h="896">
                  <a:moveTo>
                    <a:pt x="0" y="399"/>
                  </a:moveTo>
                  <a:lnTo>
                    <a:pt x="2943" y="399"/>
                  </a:lnTo>
                  <a:lnTo>
                    <a:pt x="2687" y="895"/>
                  </a:lnTo>
                  <a:lnTo>
                    <a:pt x="3087" y="895"/>
                  </a:lnTo>
                  <a:lnTo>
                    <a:pt x="3558" y="0"/>
                  </a:lnTo>
                  <a:lnTo>
                    <a:pt x="0" y="0"/>
                  </a:lnTo>
                </a:path>
              </a:pathLst>
            </a:custGeom>
            <a:solidFill>
              <a:schemeClr val="tx2"/>
            </a:solidFill>
            <a:ln w="9525">
              <a:solidFill>
                <a:schemeClr val="bg1"/>
              </a:solidFill>
              <a:miter lim="800000"/>
              <a:headEnd/>
              <a:tailEnd/>
            </a:ln>
            <a:effectLst/>
          </p:spPr>
          <p:txBody>
            <a:bodyPr lIns="80147" tIns="40074" rIns="80147" bIns="40074">
              <a:prstTxWarp prst="textNoShape">
                <a:avLst/>
              </a:prstTxWarp>
            </a:bodyPr>
            <a:lstStyle/>
            <a:p>
              <a:pPr indent="-269827"/>
              <a:endParaRPr lang="en-GB" sz="1600" dirty="0">
                <a:solidFill>
                  <a:schemeClr val="bg1"/>
                </a:solidFill>
                <a:latin typeface="Garamond"/>
              </a:endParaRPr>
            </a:p>
          </p:txBody>
        </p:sp>
        <p:sp>
          <p:nvSpPr>
            <p:cNvPr id="23" name="Freeform 7"/>
            <p:cNvSpPr>
              <a:spLocks/>
            </p:cNvSpPr>
            <p:nvPr/>
          </p:nvSpPr>
          <p:spPr bwMode="auto">
            <a:xfrm>
              <a:off x="1152" y="1680"/>
              <a:ext cx="4263" cy="2383"/>
            </a:xfrm>
            <a:custGeom>
              <a:avLst/>
              <a:gdLst/>
              <a:ahLst/>
              <a:cxnLst>
                <a:cxn ang="0">
                  <a:pos x="0" y="991"/>
                </a:cxn>
                <a:cxn ang="0">
                  <a:pos x="3750" y="991"/>
                </a:cxn>
                <a:cxn ang="0">
                  <a:pos x="3207" y="0"/>
                </a:cxn>
                <a:cxn ang="0">
                  <a:pos x="3630" y="0"/>
                </a:cxn>
                <a:cxn ang="0">
                  <a:pos x="4262" y="1207"/>
                </a:cxn>
                <a:cxn ang="0">
                  <a:pos x="3630" y="2382"/>
                </a:cxn>
                <a:cxn ang="0">
                  <a:pos x="3254" y="2382"/>
                </a:cxn>
                <a:cxn ang="0">
                  <a:pos x="3774" y="1391"/>
                </a:cxn>
                <a:cxn ang="0">
                  <a:pos x="0" y="1391"/>
                </a:cxn>
              </a:cxnLst>
              <a:rect l="0" t="0" r="r" b="b"/>
              <a:pathLst>
                <a:path w="4263" h="2383">
                  <a:moveTo>
                    <a:pt x="0" y="991"/>
                  </a:moveTo>
                  <a:lnTo>
                    <a:pt x="3750" y="991"/>
                  </a:lnTo>
                  <a:lnTo>
                    <a:pt x="3207" y="0"/>
                  </a:lnTo>
                  <a:lnTo>
                    <a:pt x="3630" y="0"/>
                  </a:lnTo>
                  <a:lnTo>
                    <a:pt x="4262" y="1207"/>
                  </a:lnTo>
                  <a:lnTo>
                    <a:pt x="3630" y="2382"/>
                  </a:lnTo>
                  <a:lnTo>
                    <a:pt x="3254" y="2382"/>
                  </a:lnTo>
                  <a:lnTo>
                    <a:pt x="3774" y="1391"/>
                  </a:lnTo>
                  <a:lnTo>
                    <a:pt x="0" y="1391"/>
                  </a:lnTo>
                </a:path>
              </a:pathLst>
            </a:custGeom>
            <a:solidFill>
              <a:schemeClr val="tx2"/>
            </a:solidFill>
            <a:ln w="9525">
              <a:solidFill>
                <a:schemeClr val="bg1"/>
              </a:solidFill>
              <a:miter lim="800000"/>
              <a:headEnd/>
              <a:tailEnd/>
            </a:ln>
            <a:effectLst/>
          </p:spPr>
          <p:txBody>
            <a:bodyPr lIns="80147" tIns="40074" rIns="80147" bIns="40074">
              <a:prstTxWarp prst="textNoShape">
                <a:avLst/>
              </a:prstTxWarp>
            </a:bodyPr>
            <a:lstStyle/>
            <a:p>
              <a:pPr indent="-269827"/>
              <a:endParaRPr lang="en-GB" sz="1600" dirty="0">
                <a:solidFill>
                  <a:schemeClr val="bg1"/>
                </a:solidFill>
                <a:latin typeface="Garamond"/>
              </a:endParaRPr>
            </a:p>
          </p:txBody>
        </p:sp>
      </p:grpSp>
      <p:sp>
        <p:nvSpPr>
          <p:cNvPr id="15" name="Rectangle 8"/>
          <p:cNvSpPr>
            <a:spLocks noChangeArrowheads="1"/>
          </p:cNvSpPr>
          <p:nvPr/>
        </p:nvSpPr>
        <p:spPr bwMode="auto">
          <a:xfrm>
            <a:off x="1953870" y="3193623"/>
            <a:ext cx="3801152" cy="251101"/>
          </a:xfrm>
          <a:prstGeom prst="rect">
            <a:avLst/>
          </a:prstGeom>
          <a:noFill/>
          <a:ln w="9525">
            <a:noFill/>
            <a:miter lim="800000"/>
            <a:headEnd/>
            <a:tailEnd/>
          </a:ln>
          <a:effectLst/>
        </p:spPr>
        <p:txBody>
          <a:bodyPr wrap="square" lIns="0" tIns="0" rIns="0" bIns="0" anchor="ctr">
            <a:prstTxWarp prst="textNoShape">
              <a:avLst/>
            </a:prstTxWarp>
            <a:spAutoFit/>
          </a:bodyPr>
          <a:lstStyle/>
          <a:p>
            <a:pPr defTabSz="787261">
              <a:spcBef>
                <a:spcPct val="20000"/>
              </a:spcBef>
            </a:pPr>
            <a:r>
              <a:rPr lang="en-AU" sz="1600" dirty="0">
                <a:solidFill>
                  <a:srgbClr val="FFFFFF"/>
                </a:solidFill>
                <a:latin typeface="Garamond"/>
              </a:rPr>
              <a:t>Text</a:t>
            </a:r>
          </a:p>
        </p:txBody>
      </p:sp>
      <p:sp>
        <p:nvSpPr>
          <p:cNvPr id="17" name="Rectangle 9"/>
          <p:cNvSpPr>
            <a:spLocks noChangeArrowheads="1"/>
          </p:cNvSpPr>
          <p:nvPr/>
        </p:nvSpPr>
        <p:spPr bwMode="auto">
          <a:xfrm>
            <a:off x="1953870" y="3762502"/>
            <a:ext cx="4743281" cy="251101"/>
          </a:xfrm>
          <a:prstGeom prst="rect">
            <a:avLst/>
          </a:prstGeom>
          <a:noFill/>
          <a:ln w="9525">
            <a:noFill/>
            <a:miter lim="800000"/>
            <a:headEnd/>
            <a:tailEnd/>
          </a:ln>
          <a:effectLst/>
        </p:spPr>
        <p:txBody>
          <a:bodyPr wrap="square" lIns="0" tIns="0" rIns="0" bIns="0" anchor="ctr">
            <a:prstTxWarp prst="textNoShape">
              <a:avLst/>
            </a:prstTxWarp>
            <a:spAutoFit/>
          </a:bodyPr>
          <a:lstStyle/>
          <a:p>
            <a:pPr defTabSz="787261">
              <a:spcBef>
                <a:spcPct val="20000"/>
              </a:spcBef>
            </a:pPr>
            <a:r>
              <a:rPr lang="en-AU" sz="1600" dirty="0">
                <a:solidFill>
                  <a:srgbClr val="FFFFFF"/>
                </a:solidFill>
                <a:latin typeface="Garamond"/>
              </a:rPr>
              <a:t>Text</a:t>
            </a:r>
          </a:p>
        </p:txBody>
      </p:sp>
      <p:sp>
        <p:nvSpPr>
          <p:cNvPr id="18" name="Rectangle 10"/>
          <p:cNvSpPr>
            <a:spLocks noChangeArrowheads="1"/>
          </p:cNvSpPr>
          <p:nvPr/>
        </p:nvSpPr>
        <p:spPr bwMode="auto">
          <a:xfrm>
            <a:off x="1953870" y="4375358"/>
            <a:ext cx="3801152" cy="251101"/>
          </a:xfrm>
          <a:prstGeom prst="rect">
            <a:avLst/>
          </a:prstGeom>
          <a:noFill/>
          <a:ln w="9525">
            <a:noFill/>
            <a:miter lim="800000"/>
            <a:headEnd/>
            <a:tailEnd/>
          </a:ln>
          <a:effectLst/>
        </p:spPr>
        <p:txBody>
          <a:bodyPr wrap="square" lIns="0" tIns="0" rIns="0" bIns="0" anchor="ctr">
            <a:prstTxWarp prst="textNoShape">
              <a:avLst/>
            </a:prstTxWarp>
            <a:spAutoFit/>
          </a:bodyPr>
          <a:lstStyle/>
          <a:p>
            <a:pPr defTabSz="787261">
              <a:spcBef>
                <a:spcPct val="20000"/>
              </a:spcBef>
            </a:pPr>
            <a:r>
              <a:rPr lang="en-AU" sz="1600" dirty="0">
                <a:solidFill>
                  <a:srgbClr val="FFFFFF"/>
                </a:solidFill>
                <a:latin typeface="Garamond"/>
              </a:rPr>
              <a:t>Text</a:t>
            </a:r>
          </a:p>
        </p:txBody>
      </p:sp>
      <p:sp>
        <p:nvSpPr>
          <p:cNvPr id="20" name="Title 3"/>
          <p:cNvSpPr txBox="1">
            <a:spLocks/>
          </p:cNvSpPr>
          <p:nvPr>
            <p:custDataLst>
              <p:tags r:id="rId3"/>
            </p:custDataLst>
          </p:nvPr>
        </p:nvSpPr>
        <p:spPr>
          <a:xfrm>
            <a:off x="754204" y="5545148"/>
            <a:ext cx="6891495" cy="822961"/>
          </a:xfrm>
          <a:prstGeom prst="rect">
            <a:avLst/>
          </a:prstGeom>
        </p:spPr>
        <p:txBody>
          <a:bodyPr vert="horz" lIns="80133" tIns="40067" rIns="80133" bIns="40067" rtlCol="0" anchor="b" anchorCtr="0">
            <a:normAutofit/>
          </a:bodyPr>
          <a:lstStyle>
            <a:lvl1pPr algn="l" defTabSz="914239" rtl="0" eaLnBrk="1" latinLnBrk="0" hangingPunct="1">
              <a:spcBef>
                <a:spcPct val="0"/>
              </a:spcBef>
              <a:buNone/>
              <a:defRPr sz="2800" kern="1200">
                <a:solidFill>
                  <a:schemeClr val="accent1"/>
                </a:solidFill>
                <a:latin typeface="Garamond" pitchFamily="18" charset="0"/>
                <a:ea typeface="+mj-ea"/>
                <a:cs typeface="+mj-cs"/>
              </a:defRPr>
            </a:lvl1pPr>
          </a:lstStyle>
          <a:p>
            <a:r>
              <a:rPr lang="en-GB" sz="1200" dirty="0">
                <a:solidFill>
                  <a:schemeClr val="tx2"/>
                </a:solidFill>
              </a:rPr>
              <a:t>Footnotes and assumptions: list</a:t>
            </a:r>
          </a:p>
          <a:p>
            <a:r>
              <a:rPr lang="en-GB" sz="1200" dirty="0">
                <a:solidFill>
                  <a:schemeClr val="tx2"/>
                </a:solidFill>
              </a:rPr>
              <a:t>Source: List sources</a:t>
            </a:r>
          </a:p>
        </p:txBody>
      </p:sp>
      <p:sp>
        <p:nvSpPr>
          <p:cNvPr id="21" name="Rectangle 4"/>
          <p:cNvSpPr>
            <a:spLocks noGrp="1" noChangeArrowheads="1"/>
          </p:cNvSpPr>
          <p:nvPr>
            <p:ph type="title"/>
            <p:custDataLst>
              <p:tags r:id="rId4"/>
            </p:custDataLst>
          </p:nvPr>
        </p:nvSpPr>
        <p:spPr/>
        <p:txBody>
          <a:bodyPr/>
          <a:lstStyle/>
          <a:p>
            <a:r>
              <a:rPr lang="en-GB" dirty="0" smtClean="0"/>
              <a:t>Message title – </a:t>
            </a:r>
            <a:r>
              <a:rPr lang="en-US" dirty="0" smtClean="0"/>
              <a:t>why are you showing it? flow</a:t>
            </a:r>
            <a:endParaRPr lang="en-GB" dirty="0"/>
          </a:p>
        </p:txBody>
      </p:sp>
      <p:sp>
        <p:nvSpPr>
          <p:cNvPr id="5" name="Footer Placeholder 4"/>
          <p:cNvSpPr>
            <a:spLocks noGrp="1"/>
          </p:cNvSpPr>
          <p:nvPr>
            <p:ph type="ftr" sz="quarter" idx="3"/>
          </p:nvPr>
        </p:nvSpPr>
        <p:spPr/>
        <p:txBody>
          <a:bodyPr/>
          <a:lstStyle/>
          <a:p>
            <a:r>
              <a:rPr lang="en-US" dirty="0" smtClean="0"/>
              <a:t>neil young |neil@ogcommunicationdesign.com |www.ogcommunicationdesign.com</a:t>
            </a:r>
            <a:endParaRPr lang="en-US" dirty="0"/>
          </a:p>
        </p:txBody>
      </p:sp>
      <p:sp>
        <p:nvSpPr>
          <p:cNvPr id="25" name="Slide Number Placeholder 1"/>
          <p:cNvSpPr>
            <a:spLocks noGrp="1"/>
          </p:cNvSpPr>
          <p:nvPr>
            <p:ph type="sldNum" sz="quarter" idx="4"/>
            <p:custDataLst>
              <p:tags r:id="rId5"/>
            </p:custDataLst>
          </p:nvPr>
        </p:nvSpPr>
        <p:spPr/>
        <p:txBody>
          <a:bodyPr/>
          <a:lstStyle/>
          <a:p>
            <a:fld id="{9EA32989-03B0-4860-BCBF-38A6D1811E33}" type="slidenum">
              <a:rPr lang="en-GB" smtClean="0"/>
              <a:pPr/>
              <a:t>16</a:t>
            </a:fld>
            <a:endParaRPr lang="en-GB" dirty="0"/>
          </a:p>
        </p:txBody>
      </p:sp>
      <p:sp>
        <p:nvSpPr>
          <p:cNvPr id="16" name="TextBox 15"/>
          <p:cNvSpPr txBox="1"/>
          <p:nvPr>
            <p:custDataLst>
              <p:tags r:id="rId6"/>
            </p:custDataLst>
          </p:nvPr>
        </p:nvSpPr>
        <p:spPr>
          <a:xfrm>
            <a:off x="755338" y="1481982"/>
            <a:ext cx="7606753" cy="362896"/>
          </a:xfrm>
          <a:prstGeom prst="rect">
            <a:avLst/>
          </a:prstGeom>
          <a:noFill/>
        </p:spPr>
        <p:txBody>
          <a:bodyPr wrap="square" lIns="80147" tIns="40074" rIns="80147" bIns="40074" rtlCol="0">
            <a:spAutoFit/>
          </a:bodyPr>
          <a:lstStyle/>
          <a:p>
            <a:r>
              <a:rPr lang="en-ZW" dirty="0">
                <a:latin typeface="Garamond" pitchFamily="18" charset="0"/>
              </a:rPr>
              <a:t>Title – what are you showing on this page?</a:t>
            </a:r>
          </a:p>
        </p:txBody>
      </p:sp>
    </p:spTree>
    <p:extLst>
      <p:ext uri="{BB962C8B-B14F-4D97-AF65-F5344CB8AC3E}">
        <p14:creationId xmlns:p14="http://schemas.microsoft.com/office/powerpoint/2010/main" val="127169332"/>
      </p:ext>
    </p:extLst>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Pentagon 39"/>
          <p:cNvSpPr/>
          <p:nvPr/>
        </p:nvSpPr>
        <p:spPr>
          <a:xfrm rot="18852374">
            <a:off x="2522486" y="3390446"/>
            <a:ext cx="4051300" cy="967306"/>
          </a:xfrm>
          <a:prstGeom prst="homePlat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1600" dirty="0" smtClean="0">
              <a:solidFill>
                <a:schemeClr val="bg1"/>
              </a:solidFill>
              <a:latin typeface="Garamond" pitchFamily="18" charset="0"/>
            </a:endParaRPr>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723619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21" name="think-cell Slide" r:id="rId8" imgW="6350000" imgH="6350000" progId="TCLayout.ActiveDocument.1">
                  <p:embed/>
                </p:oleObj>
              </mc:Choice>
              <mc:Fallback>
                <p:oleObj name="think-cell Slide" r:id="rId8" imgW="6350000" imgH="6350000" progId="TCLayout.ActiveDocument.1">
                  <p:embed/>
                  <p:pic>
                    <p:nvPicPr>
                      <p:cNvPr id="0" name="Picture 10"/>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4" name="Title 3"/>
          <p:cNvSpPr txBox="1">
            <a:spLocks/>
          </p:cNvSpPr>
          <p:nvPr>
            <p:custDataLst>
              <p:tags r:id="rId3"/>
            </p:custDataLst>
          </p:nvPr>
        </p:nvSpPr>
        <p:spPr>
          <a:xfrm>
            <a:off x="754204" y="5545148"/>
            <a:ext cx="6891495" cy="822961"/>
          </a:xfrm>
          <a:prstGeom prst="rect">
            <a:avLst/>
          </a:prstGeom>
        </p:spPr>
        <p:txBody>
          <a:bodyPr vert="horz" lIns="80133" tIns="40067" rIns="80133" bIns="40067" rtlCol="0" anchor="b" anchorCtr="0">
            <a:normAutofit/>
          </a:bodyPr>
          <a:lstStyle>
            <a:lvl1pPr algn="l" defTabSz="914239" rtl="0" eaLnBrk="1" latinLnBrk="0" hangingPunct="1">
              <a:spcBef>
                <a:spcPct val="0"/>
              </a:spcBef>
              <a:buNone/>
              <a:defRPr sz="2800" kern="1200">
                <a:solidFill>
                  <a:schemeClr val="accent1"/>
                </a:solidFill>
                <a:latin typeface="Garamond" pitchFamily="18" charset="0"/>
                <a:ea typeface="+mj-ea"/>
                <a:cs typeface="+mj-cs"/>
              </a:defRPr>
            </a:lvl1pPr>
          </a:lstStyle>
          <a:p>
            <a:r>
              <a:rPr lang="en-GB" sz="1200" dirty="0">
                <a:solidFill>
                  <a:schemeClr val="tx2"/>
                </a:solidFill>
              </a:rPr>
              <a:t>Footnotes and assumptions: list</a:t>
            </a:r>
          </a:p>
          <a:p>
            <a:r>
              <a:rPr lang="en-GB" sz="1200" dirty="0">
                <a:solidFill>
                  <a:schemeClr val="tx2"/>
                </a:solidFill>
              </a:rPr>
              <a:t>Source: List sources</a:t>
            </a:r>
          </a:p>
        </p:txBody>
      </p:sp>
      <p:sp>
        <p:nvSpPr>
          <p:cNvPr id="35" name="Rectangle 4"/>
          <p:cNvSpPr>
            <a:spLocks noGrp="1" noChangeArrowheads="1"/>
          </p:cNvSpPr>
          <p:nvPr>
            <p:ph type="title"/>
            <p:custDataLst>
              <p:tags r:id="rId4"/>
            </p:custDataLst>
          </p:nvPr>
        </p:nvSpPr>
        <p:spPr/>
        <p:txBody>
          <a:bodyPr/>
          <a:lstStyle/>
          <a:p>
            <a:r>
              <a:rPr lang="en-GB" dirty="0" smtClean="0"/>
              <a:t>Message title – </a:t>
            </a:r>
            <a:r>
              <a:rPr lang="en-US" dirty="0" smtClean="0"/>
              <a:t>why are you showing it? flow</a:t>
            </a:r>
            <a:endParaRPr lang="en-GB" dirty="0"/>
          </a:p>
        </p:txBody>
      </p:sp>
      <p:sp>
        <p:nvSpPr>
          <p:cNvPr id="5" name="Footer Placeholder 4"/>
          <p:cNvSpPr>
            <a:spLocks noGrp="1"/>
          </p:cNvSpPr>
          <p:nvPr>
            <p:ph type="ftr" sz="quarter" idx="3"/>
          </p:nvPr>
        </p:nvSpPr>
        <p:spPr/>
        <p:txBody>
          <a:bodyPr/>
          <a:lstStyle/>
          <a:p>
            <a:r>
              <a:rPr lang="en-US" dirty="0" smtClean="0"/>
              <a:t>neil young |neil@ogcommunicationdesign.com |www.ogcommunicationdesign.com</a:t>
            </a:r>
            <a:endParaRPr lang="en-US" dirty="0"/>
          </a:p>
        </p:txBody>
      </p:sp>
      <p:sp>
        <p:nvSpPr>
          <p:cNvPr id="37" name="Slide Number Placeholder 1"/>
          <p:cNvSpPr>
            <a:spLocks noGrp="1"/>
          </p:cNvSpPr>
          <p:nvPr>
            <p:ph type="sldNum" sz="quarter" idx="4"/>
            <p:custDataLst>
              <p:tags r:id="rId5"/>
            </p:custDataLst>
          </p:nvPr>
        </p:nvSpPr>
        <p:spPr/>
        <p:txBody>
          <a:bodyPr/>
          <a:lstStyle/>
          <a:p>
            <a:fld id="{9EA32989-03B0-4860-BCBF-38A6D1811E33}" type="slidenum">
              <a:rPr lang="en-GB" smtClean="0"/>
              <a:pPr/>
              <a:t>17</a:t>
            </a:fld>
            <a:endParaRPr lang="en-GB" dirty="0"/>
          </a:p>
        </p:txBody>
      </p:sp>
      <p:sp>
        <p:nvSpPr>
          <p:cNvPr id="17" name="TextBox 16"/>
          <p:cNvSpPr txBox="1"/>
          <p:nvPr>
            <p:custDataLst>
              <p:tags r:id="rId6"/>
            </p:custDataLst>
          </p:nvPr>
        </p:nvSpPr>
        <p:spPr>
          <a:xfrm>
            <a:off x="755338" y="1481982"/>
            <a:ext cx="7606753" cy="362896"/>
          </a:xfrm>
          <a:prstGeom prst="rect">
            <a:avLst/>
          </a:prstGeom>
          <a:noFill/>
        </p:spPr>
        <p:txBody>
          <a:bodyPr wrap="square" lIns="80147" tIns="40074" rIns="80147" bIns="40074" rtlCol="0">
            <a:spAutoFit/>
          </a:bodyPr>
          <a:lstStyle/>
          <a:p>
            <a:r>
              <a:rPr lang="en-ZW" dirty="0">
                <a:latin typeface="Garamond" pitchFamily="18" charset="0"/>
              </a:rPr>
              <a:t>Title – what are you showing on this page?</a:t>
            </a:r>
          </a:p>
        </p:txBody>
      </p:sp>
      <p:sp>
        <p:nvSpPr>
          <p:cNvPr id="20" name="Freeform 19"/>
          <p:cNvSpPr/>
          <p:nvPr/>
        </p:nvSpPr>
        <p:spPr>
          <a:xfrm>
            <a:off x="4861333" y="2447092"/>
            <a:ext cx="1106068" cy="1007482"/>
          </a:xfrm>
          <a:custGeom>
            <a:avLst/>
            <a:gdLst>
              <a:gd name="connsiteX0" fmla="*/ 0 w 905933"/>
              <a:gd name="connsiteY0" fmla="*/ 0 h 973667"/>
              <a:gd name="connsiteX1" fmla="*/ 897466 w 905933"/>
              <a:gd name="connsiteY1" fmla="*/ 0 h 973667"/>
              <a:gd name="connsiteX2" fmla="*/ 905933 w 905933"/>
              <a:gd name="connsiteY2" fmla="*/ 973667 h 973667"/>
            </a:gdLst>
            <a:ahLst/>
            <a:cxnLst>
              <a:cxn ang="0">
                <a:pos x="connsiteX0" y="connsiteY0"/>
              </a:cxn>
              <a:cxn ang="0">
                <a:pos x="connsiteX1" y="connsiteY1"/>
              </a:cxn>
              <a:cxn ang="0">
                <a:pos x="connsiteX2" y="connsiteY2"/>
              </a:cxn>
            </a:cxnLst>
            <a:rect l="l" t="t" r="r" b="b"/>
            <a:pathLst>
              <a:path w="905933" h="973667">
                <a:moveTo>
                  <a:pt x="0" y="0"/>
                </a:moveTo>
                <a:lnTo>
                  <a:pt x="897466" y="0"/>
                </a:lnTo>
                <a:cubicBezTo>
                  <a:pt x="900288" y="324556"/>
                  <a:pt x="905933" y="973667"/>
                  <a:pt x="905933" y="973667"/>
                </a:cubicBezTo>
              </a:path>
            </a:pathLst>
          </a:custGeom>
          <a:noFill/>
          <a:ln>
            <a:solidFill>
              <a:srgbClr val="1F497D"/>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sz="1600" dirty="0">
              <a:solidFill>
                <a:schemeClr val="bg1"/>
              </a:solidFill>
              <a:latin typeface="Garamond"/>
            </a:endParaRPr>
          </a:p>
        </p:txBody>
      </p:sp>
      <p:sp>
        <p:nvSpPr>
          <p:cNvPr id="23" name="Freeform 22"/>
          <p:cNvSpPr/>
          <p:nvPr/>
        </p:nvSpPr>
        <p:spPr>
          <a:xfrm>
            <a:off x="4040554" y="3351317"/>
            <a:ext cx="1106068" cy="1007482"/>
          </a:xfrm>
          <a:custGeom>
            <a:avLst/>
            <a:gdLst>
              <a:gd name="connsiteX0" fmla="*/ 0 w 905933"/>
              <a:gd name="connsiteY0" fmla="*/ 0 h 973667"/>
              <a:gd name="connsiteX1" fmla="*/ 897466 w 905933"/>
              <a:gd name="connsiteY1" fmla="*/ 0 h 973667"/>
              <a:gd name="connsiteX2" fmla="*/ 905933 w 905933"/>
              <a:gd name="connsiteY2" fmla="*/ 973667 h 973667"/>
            </a:gdLst>
            <a:ahLst/>
            <a:cxnLst>
              <a:cxn ang="0">
                <a:pos x="connsiteX0" y="connsiteY0"/>
              </a:cxn>
              <a:cxn ang="0">
                <a:pos x="connsiteX1" y="connsiteY1"/>
              </a:cxn>
              <a:cxn ang="0">
                <a:pos x="connsiteX2" y="connsiteY2"/>
              </a:cxn>
            </a:cxnLst>
            <a:rect l="l" t="t" r="r" b="b"/>
            <a:pathLst>
              <a:path w="905933" h="973667">
                <a:moveTo>
                  <a:pt x="0" y="0"/>
                </a:moveTo>
                <a:lnTo>
                  <a:pt x="897466" y="0"/>
                </a:lnTo>
                <a:cubicBezTo>
                  <a:pt x="900288" y="324556"/>
                  <a:pt x="905933" y="973667"/>
                  <a:pt x="905933" y="973667"/>
                </a:cubicBezTo>
              </a:path>
            </a:pathLst>
          </a:custGeom>
          <a:noFill/>
          <a:ln>
            <a:solidFill>
              <a:srgbClr val="1F497D"/>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sz="1600" dirty="0">
              <a:solidFill>
                <a:schemeClr val="bg1"/>
              </a:solidFill>
              <a:latin typeface="Garamond"/>
            </a:endParaRPr>
          </a:p>
        </p:txBody>
      </p:sp>
      <p:sp>
        <p:nvSpPr>
          <p:cNvPr id="28" name="Freeform 27"/>
          <p:cNvSpPr/>
          <p:nvPr/>
        </p:nvSpPr>
        <p:spPr>
          <a:xfrm>
            <a:off x="3219775" y="4255542"/>
            <a:ext cx="1106068" cy="1007482"/>
          </a:xfrm>
          <a:custGeom>
            <a:avLst/>
            <a:gdLst>
              <a:gd name="connsiteX0" fmla="*/ 0 w 905933"/>
              <a:gd name="connsiteY0" fmla="*/ 0 h 973667"/>
              <a:gd name="connsiteX1" fmla="*/ 897466 w 905933"/>
              <a:gd name="connsiteY1" fmla="*/ 0 h 973667"/>
              <a:gd name="connsiteX2" fmla="*/ 905933 w 905933"/>
              <a:gd name="connsiteY2" fmla="*/ 973667 h 973667"/>
            </a:gdLst>
            <a:ahLst/>
            <a:cxnLst>
              <a:cxn ang="0">
                <a:pos x="connsiteX0" y="connsiteY0"/>
              </a:cxn>
              <a:cxn ang="0">
                <a:pos x="connsiteX1" y="connsiteY1"/>
              </a:cxn>
              <a:cxn ang="0">
                <a:pos x="connsiteX2" y="connsiteY2"/>
              </a:cxn>
            </a:cxnLst>
            <a:rect l="l" t="t" r="r" b="b"/>
            <a:pathLst>
              <a:path w="905933" h="973667">
                <a:moveTo>
                  <a:pt x="0" y="0"/>
                </a:moveTo>
                <a:lnTo>
                  <a:pt x="897466" y="0"/>
                </a:lnTo>
                <a:cubicBezTo>
                  <a:pt x="900288" y="324556"/>
                  <a:pt x="905933" y="973667"/>
                  <a:pt x="905933" y="973667"/>
                </a:cubicBezTo>
              </a:path>
            </a:pathLst>
          </a:custGeom>
          <a:noFill/>
          <a:ln>
            <a:solidFill>
              <a:srgbClr val="1F497D"/>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sz="1600" dirty="0">
              <a:solidFill>
                <a:schemeClr val="bg1"/>
              </a:solidFill>
              <a:latin typeface="Garamond"/>
            </a:endParaRPr>
          </a:p>
        </p:txBody>
      </p:sp>
      <p:sp>
        <p:nvSpPr>
          <p:cNvPr id="36" name="Rectangle 8"/>
          <p:cNvSpPr>
            <a:spLocks noChangeArrowheads="1"/>
          </p:cNvSpPr>
          <p:nvPr/>
        </p:nvSpPr>
        <p:spPr bwMode="auto">
          <a:xfrm>
            <a:off x="3496552" y="4339453"/>
            <a:ext cx="735087" cy="251236"/>
          </a:xfrm>
          <a:prstGeom prst="rect">
            <a:avLst/>
          </a:prstGeom>
          <a:noFill/>
          <a:ln w="9525">
            <a:noFill/>
            <a:miter lim="800000"/>
            <a:headEnd/>
            <a:tailEnd/>
          </a:ln>
          <a:effectLst/>
        </p:spPr>
        <p:txBody>
          <a:bodyPr wrap="square" lIns="0" tIns="0" rIns="0" bIns="0" anchor="ctr">
            <a:prstTxWarp prst="textNoShape">
              <a:avLst/>
            </a:prstTxWarp>
            <a:spAutoFit/>
          </a:bodyPr>
          <a:lstStyle/>
          <a:p>
            <a:pPr algn="ctr" defTabSz="690156">
              <a:spcBef>
                <a:spcPct val="20000"/>
              </a:spcBef>
            </a:pPr>
            <a:r>
              <a:rPr lang="en-AU" sz="1600" dirty="0">
                <a:solidFill>
                  <a:schemeClr val="bg1"/>
                </a:solidFill>
                <a:latin typeface="Garamond"/>
              </a:rPr>
              <a:t>Text</a:t>
            </a:r>
          </a:p>
        </p:txBody>
      </p:sp>
      <p:sp>
        <p:nvSpPr>
          <p:cNvPr id="38" name="Rectangle 8"/>
          <p:cNvSpPr>
            <a:spLocks noChangeArrowheads="1"/>
          </p:cNvSpPr>
          <p:nvPr/>
        </p:nvSpPr>
        <p:spPr bwMode="auto">
          <a:xfrm>
            <a:off x="4376200" y="3417950"/>
            <a:ext cx="735087" cy="251236"/>
          </a:xfrm>
          <a:prstGeom prst="rect">
            <a:avLst/>
          </a:prstGeom>
          <a:noFill/>
          <a:ln w="9525">
            <a:noFill/>
            <a:miter lim="800000"/>
            <a:headEnd/>
            <a:tailEnd/>
          </a:ln>
          <a:effectLst/>
        </p:spPr>
        <p:txBody>
          <a:bodyPr wrap="square" lIns="0" tIns="0" rIns="0" bIns="0" anchor="ctr">
            <a:prstTxWarp prst="textNoShape">
              <a:avLst/>
            </a:prstTxWarp>
            <a:spAutoFit/>
          </a:bodyPr>
          <a:lstStyle/>
          <a:p>
            <a:pPr algn="ctr" defTabSz="690156">
              <a:spcBef>
                <a:spcPct val="20000"/>
              </a:spcBef>
            </a:pPr>
            <a:r>
              <a:rPr lang="en-AU" sz="1600" dirty="0">
                <a:solidFill>
                  <a:schemeClr val="bg1"/>
                </a:solidFill>
                <a:latin typeface="Garamond"/>
              </a:rPr>
              <a:t>Text</a:t>
            </a:r>
          </a:p>
        </p:txBody>
      </p:sp>
      <p:sp>
        <p:nvSpPr>
          <p:cNvPr id="39" name="Rectangle 8"/>
          <p:cNvSpPr>
            <a:spLocks noChangeArrowheads="1"/>
          </p:cNvSpPr>
          <p:nvPr/>
        </p:nvSpPr>
        <p:spPr bwMode="auto">
          <a:xfrm>
            <a:off x="5255849" y="2496447"/>
            <a:ext cx="735087" cy="251236"/>
          </a:xfrm>
          <a:prstGeom prst="rect">
            <a:avLst/>
          </a:prstGeom>
          <a:noFill/>
          <a:ln w="9525">
            <a:noFill/>
            <a:miter lim="800000"/>
            <a:headEnd/>
            <a:tailEnd/>
          </a:ln>
          <a:effectLst/>
        </p:spPr>
        <p:txBody>
          <a:bodyPr wrap="square" lIns="0" tIns="0" rIns="0" bIns="0" anchor="ctr">
            <a:prstTxWarp prst="textNoShape">
              <a:avLst/>
            </a:prstTxWarp>
            <a:spAutoFit/>
          </a:bodyPr>
          <a:lstStyle/>
          <a:p>
            <a:pPr algn="ctr" defTabSz="690156">
              <a:spcBef>
                <a:spcPct val="20000"/>
              </a:spcBef>
            </a:pPr>
            <a:r>
              <a:rPr lang="en-AU" sz="1600" dirty="0">
                <a:solidFill>
                  <a:schemeClr val="bg1"/>
                </a:solidFill>
                <a:latin typeface="Garamond"/>
              </a:rPr>
              <a:t>Text</a:t>
            </a:r>
          </a:p>
        </p:txBody>
      </p:sp>
    </p:spTree>
    <p:extLst>
      <p:ext uri="{BB962C8B-B14F-4D97-AF65-F5344CB8AC3E}">
        <p14:creationId xmlns:p14="http://schemas.microsoft.com/office/powerpoint/2010/main" val="127169332"/>
      </p:ext>
    </p:extLst>
  </p:cSld>
  <p:clrMapOvr>
    <a:masterClrMapping/>
  </p:clrMapOvr>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5257687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45" name="think-cell Slide" r:id="rId26" imgW="6350000" imgH="6350000" progId="TCLayout.ActiveDocument.1">
                  <p:embed/>
                </p:oleObj>
              </mc:Choice>
              <mc:Fallback>
                <p:oleObj name="think-cell Slide" r:id="rId26" imgW="6350000" imgH="6350000" progId="TCLayout.ActiveDocument.1">
                  <p:embed/>
                  <p:pic>
                    <p:nvPicPr>
                      <p:cNvPr id="0" name="Picture 10"/>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 name="Right Arrow 27"/>
          <p:cNvSpPr/>
          <p:nvPr>
            <p:custDataLst>
              <p:tags r:id="rId3"/>
            </p:custDataLst>
          </p:nvPr>
        </p:nvSpPr>
        <p:spPr bwMode="gray">
          <a:xfrm rot="16200000">
            <a:off x="4036238" y="702700"/>
            <a:ext cx="1142538" cy="3968855"/>
          </a:xfrm>
          <a:prstGeom prst="rightArrow">
            <a:avLst/>
          </a:prstGeom>
          <a:solidFill>
            <a:schemeClr val="tx2"/>
          </a:solidFill>
          <a:ln w="9525">
            <a:solidFill>
              <a:schemeClr val="bg1"/>
            </a:solidFill>
            <a:miter lim="800000"/>
            <a:headEnd/>
            <a:tailEnd/>
          </a:ln>
          <a:effectLst/>
        </p:spPr>
        <p:txBody>
          <a:bodyPr lIns="80147" tIns="40074" rIns="80147" bIns="40074">
            <a:prstTxWarp prst="textNoShape">
              <a:avLst/>
            </a:prstTxWarp>
          </a:bodyPr>
          <a:lstStyle/>
          <a:p>
            <a:pPr indent="-269827"/>
            <a:endParaRPr lang="en-GB" sz="1600" dirty="0">
              <a:solidFill>
                <a:srgbClr val="FFFFFF"/>
              </a:solidFill>
              <a:latin typeface="Garamond"/>
            </a:endParaRPr>
          </a:p>
        </p:txBody>
      </p:sp>
      <p:sp>
        <p:nvSpPr>
          <p:cNvPr id="33" name="Right Arrow 32"/>
          <p:cNvSpPr/>
          <p:nvPr>
            <p:custDataLst>
              <p:tags r:id="rId4"/>
            </p:custDataLst>
          </p:nvPr>
        </p:nvSpPr>
        <p:spPr bwMode="gray">
          <a:xfrm rot="16200000">
            <a:off x="4036238" y="1675831"/>
            <a:ext cx="1142538" cy="3285299"/>
          </a:xfrm>
          <a:prstGeom prst="rightArrow">
            <a:avLst/>
          </a:prstGeom>
          <a:solidFill>
            <a:schemeClr val="tx2"/>
          </a:solidFill>
          <a:ln w="9525">
            <a:solidFill>
              <a:schemeClr val="bg1"/>
            </a:solidFill>
            <a:miter lim="800000"/>
            <a:headEnd/>
            <a:tailEnd/>
          </a:ln>
          <a:effectLst/>
        </p:spPr>
        <p:txBody>
          <a:bodyPr lIns="80147" tIns="40074" rIns="80147" bIns="40074">
            <a:prstTxWarp prst="textNoShape">
              <a:avLst/>
            </a:prstTxWarp>
          </a:bodyPr>
          <a:lstStyle/>
          <a:p>
            <a:pPr indent="-269827"/>
            <a:endParaRPr lang="en-GB" sz="1600" dirty="0">
              <a:solidFill>
                <a:srgbClr val="FFFFFF"/>
              </a:solidFill>
              <a:latin typeface="Garamond"/>
            </a:endParaRPr>
          </a:p>
        </p:txBody>
      </p:sp>
      <p:sp>
        <p:nvSpPr>
          <p:cNvPr id="34" name="Right Arrow 33"/>
          <p:cNvSpPr/>
          <p:nvPr>
            <p:custDataLst>
              <p:tags r:id="rId5"/>
            </p:custDataLst>
          </p:nvPr>
        </p:nvSpPr>
        <p:spPr bwMode="gray">
          <a:xfrm rot="16200000">
            <a:off x="4036238" y="2640737"/>
            <a:ext cx="1142538" cy="2567023"/>
          </a:xfrm>
          <a:prstGeom prst="rightArrow">
            <a:avLst/>
          </a:prstGeom>
          <a:solidFill>
            <a:schemeClr val="tx2"/>
          </a:solidFill>
          <a:ln w="9525">
            <a:solidFill>
              <a:schemeClr val="bg1"/>
            </a:solidFill>
            <a:miter lim="800000"/>
            <a:headEnd/>
            <a:tailEnd/>
          </a:ln>
          <a:effectLst/>
        </p:spPr>
        <p:txBody>
          <a:bodyPr lIns="80147" tIns="40074" rIns="80147" bIns="40074">
            <a:prstTxWarp prst="textNoShape">
              <a:avLst/>
            </a:prstTxWarp>
          </a:bodyPr>
          <a:lstStyle/>
          <a:p>
            <a:pPr indent="-269827"/>
            <a:endParaRPr lang="en-GB" sz="1600" dirty="0">
              <a:solidFill>
                <a:srgbClr val="FFFFFF"/>
              </a:solidFill>
              <a:latin typeface="Garamond"/>
            </a:endParaRPr>
          </a:p>
        </p:txBody>
      </p:sp>
      <p:sp>
        <p:nvSpPr>
          <p:cNvPr id="35" name="Right Arrow 34"/>
          <p:cNvSpPr/>
          <p:nvPr>
            <p:custDataLst>
              <p:tags r:id="rId6"/>
            </p:custDataLst>
          </p:nvPr>
        </p:nvSpPr>
        <p:spPr bwMode="gray">
          <a:xfrm rot="16200000">
            <a:off x="4036238" y="3570095"/>
            <a:ext cx="1142538" cy="1862010"/>
          </a:xfrm>
          <a:prstGeom prst="rightArrow">
            <a:avLst/>
          </a:prstGeom>
          <a:solidFill>
            <a:schemeClr val="tx2"/>
          </a:solidFill>
          <a:ln w="9525">
            <a:solidFill>
              <a:schemeClr val="bg1"/>
            </a:solidFill>
            <a:miter lim="800000"/>
            <a:headEnd/>
            <a:tailEnd/>
          </a:ln>
          <a:effectLst/>
        </p:spPr>
        <p:txBody>
          <a:bodyPr lIns="80147" tIns="40074" rIns="80147" bIns="40074">
            <a:prstTxWarp prst="textNoShape">
              <a:avLst/>
            </a:prstTxWarp>
          </a:bodyPr>
          <a:lstStyle/>
          <a:p>
            <a:pPr indent="-269827"/>
            <a:endParaRPr lang="en-GB" sz="1600" dirty="0">
              <a:solidFill>
                <a:srgbClr val="FFFFFF"/>
              </a:solidFill>
              <a:latin typeface="Garamond"/>
            </a:endParaRPr>
          </a:p>
        </p:txBody>
      </p:sp>
      <p:sp>
        <p:nvSpPr>
          <p:cNvPr id="36" name="Freeform 4"/>
          <p:cNvSpPr>
            <a:spLocks/>
          </p:cNvSpPr>
          <p:nvPr>
            <p:custDataLst>
              <p:tags r:id="rId7"/>
            </p:custDataLst>
          </p:nvPr>
        </p:nvSpPr>
        <p:spPr bwMode="gray">
          <a:xfrm rot="16200000">
            <a:off x="3991166" y="4593541"/>
            <a:ext cx="1213304" cy="1224496"/>
          </a:xfrm>
          <a:custGeom>
            <a:avLst/>
            <a:gdLst>
              <a:gd name="T0" fmla="*/ 0 w 1978"/>
              <a:gd name="T1" fmla="*/ 425433 h 2696"/>
              <a:gd name="T2" fmla="*/ 2533059 w 1978"/>
              <a:gd name="T3" fmla="*/ 425433 h 2696"/>
              <a:gd name="T4" fmla="*/ 2533059 w 1978"/>
              <a:gd name="T5" fmla="*/ 0 h 2696"/>
              <a:gd name="T6" fmla="*/ 3201955 w 1978"/>
              <a:gd name="T7" fmla="*/ 1702985 h 2696"/>
              <a:gd name="T8" fmla="*/ 2533059 w 1978"/>
              <a:gd name="T9" fmla="*/ 3372186 h 2696"/>
              <a:gd name="T10" fmla="*/ 2533059 w 1978"/>
              <a:gd name="T11" fmla="*/ 2993049 h 2696"/>
              <a:gd name="T12" fmla="*/ 0 w 1978"/>
              <a:gd name="T13" fmla="*/ 2993049 h 269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78" h="2696">
                <a:moveTo>
                  <a:pt x="0" y="340"/>
                </a:moveTo>
                <a:lnTo>
                  <a:pt x="1564" y="340"/>
                </a:lnTo>
                <a:lnTo>
                  <a:pt x="1564" y="0"/>
                </a:lnTo>
                <a:lnTo>
                  <a:pt x="1977" y="1361"/>
                </a:lnTo>
                <a:lnTo>
                  <a:pt x="1564" y="2695"/>
                </a:lnTo>
                <a:lnTo>
                  <a:pt x="1564" y="2392"/>
                </a:lnTo>
                <a:lnTo>
                  <a:pt x="0" y="2392"/>
                </a:lnTo>
              </a:path>
            </a:pathLst>
          </a:custGeom>
          <a:solidFill>
            <a:schemeClr val="tx2"/>
          </a:solidFill>
          <a:ln w="9525">
            <a:solidFill>
              <a:schemeClr val="bg1"/>
            </a:solidFill>
            <a:miter lim="800000"/>
            <a:headEnd/>
            <a:tailEnd/>
          </a:ln>
          <a:effectLst/>
        </p:spPr>
        <p:txBody>
          <a:bodyPr lIns="80147" tIns="40074" rIns="80147" bIns="40074">
            <a:prstTxWarp prst="textNoShape">
              <a:avLst/>
            </a:prstTxWarp>
          </a:bodyPr>
          <a:lstStyle/>
          <a:p>
            <a:pPr indent="-269827"/>
            <a:endParaRPr lang="en-GB" sz="1600" dirty="0">
              <a:solidFill>
                <a:srgbClr val="FFFFFF"/>
              </a:solidFill>
              <a:latin typeface="Garamond"/>
            </a:endParaRPr>
          </a:p>
        </p:txBody>
      </p:sp>
      <p:cxnSp>
        <p:nvCxnSpPr>
          <p:cNvPr id="38" name="Straight Connector 37"/>
          <p:cNvCxnSpPr/>
          <p:nvPr>
            <p:custDataLst>
              <p:tags r:id="rId8"/>
            </p:custDataLst>
          </p:nvPr>
        </p:nvCxnSpPr>
        <p:spPr bwMode="gray">
          <a:xfrm rot="5400000">
            <a:off x="1714455" y="4568768"/>
            <a:ext cx="2519382" cy="10278"/>
          </a:xfrm>
          <a:prstGeom prst="line">
            <a:avLst/>
          </a:prstGeom>
          <a:ln w="9525" cap="flat" cmpd="sng" algn="ctr">
            <a:solidFill>
              <a:srgbClr val="1F497D"/>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p:custDataLst>
              <p:tags r:id="rId9"/>
            </p:custDataLst>
          </p:nvPr>
        </p:nvCxnSpPr>
        <p:spPr bwMode="gray">
          <a:xfrm rot="5400000">
            <a:off x="4959926" y="4564928"/>
            <a:ext cx="2519382" cy="10278"/>
          </a:xfrm>
          <a:prstGeom prst="line">
            <a:avLst/>
          </a:prstGeom>
          <a:ln w="9525" cap="flat" cmpd="sng" algn="ctr">
            <a:solidFill>
              <a:schemeClr val="tx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p:custDataLst>
              <p:tags r:id="rId10"/>
            </p:custDataLst>
          </p:nvPr>
        </p:nvCxnSpPr>
        <p:spPr bwMode="gray">
          <a:xfrm rot="5400000">
            <a:off x="2397161" y="4862185"/>
            <a:ext cx="1912128" cy="7660"/>
          </a:xfrm>
          <a:prstGeom prst="line">
            <a:avLst/>
          </a:prstGeom>
          <a:ln w="9525" cap="flat" cmpd="sng" algn="ctr">
            <a:solidFill>
              <a:srgbClr val="1F497D"/>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p:custDataLst>
              <p:tags r:id="rId11"/>
            </p:custDataLst>
          </p:nvPr>
        </p:nvCxnSpPr>
        <p:spPr bwMode="gray">
          <a:xfrm rot="5400000">
            <a:off x="4905723" y="4862185"/>
            <a:ext cx="1912128" cy="7660"/>
          </a:xfrm>
          <a:prstGeom prst="line">
            <a:avLst/>
          </a:prstGeom>
          <a:ln w="9525" cap="flat" cmpd="sng" algn="ctr">
            <a:solidFill>
              <a:schemeClr val="tx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p:nvCxnSpPr>
        <p:spPr bwMode="gray">
          <a:xfrm rot="5400000">
            <a:off x="3052687" y="5168740"/>
            <a:ext cx="1331951" cy="5442"/>
          </a:xfrm>
          <a:prstGeom prst="line">
            <a:avLst/>
          </a:prstGeom>
          <a:ln w="9525" cap="flat" cmpd="sng" algn="ctr">
            <a:solidFill>
              <a:srgbClr val="1F497D"/>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p:nvCxnSpPr>
        <p:spPr bwMode="gray">
          <a:xfrm rot="5400000">
            <a:off x="4840700" y="5168740"/>
            <a:ext cx="1331951" cy="5442"/>
          </a:xfrm>
          <a:prstGeom prst="line">
            <a:avLst/>
          </a:prstGeom>
          <a:ln w="9525" cap="flat" cmpd="sng" algn="ctr">
            <a:solidFill>
              <a:srgbClr val="1F497D"/>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7" name="Straight Connector 46"/>
          <p:cNvCxnSpPr/>
          <p:nvPr>
            <p:custDataLst>
              <p:tags r:id="rId12"/>
            </p:custDataLst>
          </p:nvPr>
        </p:nvCxnSpPr>
        <p:spPr bwMode="gray">
          <a:xfrm rot="5400000">
            <a:off x="3524592" y="5330306"/>
            <a:ext cx="976483" cy="3731"/>
          </a:xfrm>
          <a:prstGeom prst="line">
            <a:avLst/>
          </a:prstGeom>
          <a:ln w="9525" cap="flat" cmpd="sng" algn="ctr">
            <a:solidFill>
              <a:srgbClr val="1F497D"/>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p:custDataLst>
              <p:tags r:id="rId13"/>
            </p:custDataLst>
          </p:nvPr>
        </p:nvCxnSpPr>
        <p:spPr bwMode="gray">
          <a:xfrm rot="5400000">
            <a:off x="4697225" y="5331973"/>
            <a:ext cx="976483" cy="3731"/>
          </a:xfrm>
          <a:prstGeom prst="line">
            <a:avLst/>
          </a:prstGeom>
          <a:ln w="9525" cap="flat" cmpd="sng" algn="ctr">
            <a:solidFill>
              <a:schemeClr val="tx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9" name="TextBox 48"/>
          <p:cNvSpPr txBox="1"/>
          <p:nvPr>
            <p:custDataLst>
              <p:tags r:id="rId14"/>
            </p:custDataLst>
          </p:nvPr>
        </p:nvSpPr>
        <p:spPr bwMode="gray">
          <a:xfrm>
            <a:off x="4220103" y="2201444"/>
            <a:ext cx="774808" cy="271581"/>
          </a:xfrm>
          <a:prstGeom prst="rect">
            <a:avLst/>
          </a:prstGeom>
          <a:noFill/>
        </p:spPr>
        <p:txBody>
          <a:bodyPr wrap="square" lIns="80147" tIns="40074" rIns="80147" bIns="40074" rtlCol="0">
            <a:spAutoFit/>
          </a:bodyPr>
          <a:lstStyle/>
          <a:p>
            <a:pPr algn="ctr">
              <a:lnSpc>
                <a:spcPts val="1402"/>
              </a:lnSpc>
            </a:pPr>
            <a:r>
              <a:rPr lang="en-GB" sz="1600" dirty="0">
                <a:solidFill>
                  <a:srgbClr val="FFFFFF"/>
                </a:solidFill>
                <a:latin typeface="Garamond"/>
                <a:cs typeface="Garamond"/>
              </a:rPr>
              <a:t>Text</a:t>
            </a:r>
          </a:p>
        </p:txBody>
      </p:sp>
      <p:sp>
        <p:nvSpPr>
          <p:cNvPr id="50" name="TextBox 49"/>
          <p:cNvSpPr txBox="1"/>
          <p:nvPr>
            <p:custDataLst>
              <p:tags r:id="rId15"/>
            </p:custDataLst>
          </p:nvPr>
        </p:nvSpPr>
        <p:spPr bwMode="gray">
          <a:xfrm>
            <a:off x="3813383" y="2820028"/>
            <a:ext cx="1588246" cy="271581"/>
          </a:xfrm>
          <a:prstGeom prst="rect">
            <a:avLst/>
          </a:prstGeom>
          <a:noFill/>
        </p:spPr>
        <p:txBody>
          <a:bodyPr wrap="square" lIns="80147" tIns="40074" rIns="80147" bIns="40074" rtlCol="0">
            <a:spAutoFit/>
          </a:bodyPr>
          <a:lstStyle/>
          <a:p>
            <a:pPr algn="ctr">
              <a:lnSpc>
                <a:spcPts val="1402"/>
              </a:lnSpc>
            </a:pPr>
            <a:r>
              <a:rPr lang="en-GB" sz="1600" dirty="0">
                <a:solidFill>
                  <a:srgbClr val="FFFFFF"/>
                </a:solidFill>
                <a:latin typeface="Garamond"/>
                <a:cs typeface="Garamond"/>
              </a:rPr>
              <a:t>Text</a:t>
            </a:r>
          </a:p>
        </p:txBody>
      </p:sp>
      <p:sp>
        <p:nvSpPr>
          <p:cNvPr id="51" name="TextBox 50"/>
          <p:cNvSpPr txBox="1"/>
          <p:nvPr>
            <p:custDataLst>
              <p:tags r:id="rId16"/>
            </p:custDataLst>
          </p:nvPr>
        </p:nvSpPr>
        <p:spPr bwMode="gray">
          <a:xfrm>
            <a:off x="4207882" y="3407508"/>
            <a:ext cx="799250" cy="271581"/>
          </a:xfrm>
          <a:prstGeom prst="rect">
            <a:avLst/>
          </a:prstGeom>
          <a:noFill/>
        </p:spPr>
        <p:txBody>
          <a:bodyPr wrap="square" lIns="80147" tIns="40074" rIns="80147" bIns="40074" rtlCol="0">
            <a:spAutoFit/>
          </a:bodyPr>
          <a:lstStyle/>
          <a:p>
            <a:pPr algn="ctr">
              <a:lnSpc>
                <a:spcPts val="1402"/>
              </a:lnSpc>
            </a:pPr>
            <a:r>
              <a:rPr lang="en-GB" sz="1600" dirty="0">
                <a:solidFill>
                  <a:srgbClr val="FFFFFF"/>
                </a:solidFill>
                <a:latin typeface="Garamond"/>
                <a:cs typeface="Garamond"/>
              </a:rPr>
              <a:t>Text</a:t>
            </a:r>
          </a:p>
        </p:txBody>
      </p:sp>
      <p:sp>
        <p:nvSpPr>
          <p:cNvPr id="52" name="TextBox 51"/>
          <p:cNvSpPr txBox="1"/>
          <p:nvPr>
            <p:custDataLst>
              <p:tags r:id="rId17"/>
            </p:custDataLst>
          </p:nvPr>
        </p:nvSpPr>
        <p:spPr bwMode="gray">
          <a:xfrm>
            <a:off x="4320645" y="4040565"/>
            <a:ext cx="573723" cy="260895"/>
          </a:xfrm>
          <a:prstGeom prst="rect">
            <a:avLst/>
          </a:prstGeom>
          <a:noFill/>
        </p:spPr>
        <p:txBody>
          <a:bodyPr wrap="square" lIns="80147" tIns="40074" rIns="80147" bIns="40074" rtlCol="0">
            <a:spAutoFit/>
          </a:bodyPr>
          <a:lstStyle/>
          <a:p>
            <a:pPr algn="ctr">
              <a:lnSpc>
                <a:spcPts val="1280"/>
              </a:lnSpc>
            </a:pPr>
            <a:r>
              <a:rPr lang="en-GB" sz="1600" dirty="0">
                <a:solidFill>
                  <a:srgbClr val="FFFFFF"/>
                </a:solidFill>
                <a:latin typeface="Garamond"/>
                <a:cs typeface="Garamond"/>
              </a:rPr>
              <a:t>Text</a:t>
            </a:r>
          </a:p>
        </p:txBody>
      </p:sp>
      <p:sp>
        <p:nvSpPr>
          <p:cNvPr id="53" name="TextBox 52"/>
          <p:cNvSpPr txBox="1"/>
          <p:nvPr>
            <p:custDataLst>
              <p:tags r:id="rId18"/>
            </p:custDataLst>
          </p:nvPr>
        </p:nvSpPr>
        <p:spPr bwMode="gray">
          <a:xfrm>
            <a:off x="4244544" y="4696098"/>
            <a:ext cx="725924" cy="271581"/>
          </a:xfrm>
          <a:prstGeom prst="rect">
            <a:avLst/>
          </a:prstGeom>
          <a:noFill/>
        </p:spPr>
        <p:txBody>
          <a:bodyPr wrap="square" lIns="80147" tIns="40074" rIns="80147" bIns="40074" rtlCol="0">
            <a:spAutoFit/>
          </a:bodyPr>
          <a:lstStyle/>
          <a:p>
            <a:pPr algn="ctr">
              <a:lnSpc>
                <a:spcPts val="1402"/>
              </a:lnSpc>
            </a:pPr>
            <a:r>
              <a:rPr lang="en-GB" sz="1600" dirty="0">
                <a:solidFill>
                  <a:srgbClr val="FFFFFF"/>
                </a:solidFill>
                <a:latin typeface="Garamond"/>
                <a:cs typeface="Garamond"/>
              </a:rPr>
              <a:t>Text</a:t>
            </a:r>
          </a:p>
        </p:txBody>
      </p:sp>
      <p:cxnSp>
        <p:nvCxnSpPr>
          <p:cNvPr id="55" name="Straight Connector 54"/>
          <p:cNvCxnSpPr/>
          <p:nvPr>
            <p:custDataLst>
              <p:tags r:id="rId19"/>
            </p:custDataLst>
          </p:nvPr>
        </p:nvCxnSpPr>
        <p:spPr bwMode="gray">
          <a:xfrm rot="5400000">
            <a:off x="1097190" y="4236515"/>
            <a:ext cx="3139084" cy="12766"/>
          </a:xfrm>
          <a:prstGeom prst="line">
            <a:avLst/>
          </a:prstGeom>
          <a:ln w="9525" cap="flat" cmpd="sng" algn="ctr">
            <a:solidFill>
              <a:srgbClr val="1F497D"/>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6" name="Straight Connector 55"/>
          <p:cNvCxnSpPr/>
          <p:nvPr>
            <p:custDataLst>
              <p:tags r:id="rId20"/>
            </p:custDataLst>
          </p:nvPr>
        </p:nvCxnSpPr>
        <p:spPr bwMode="gray">
          <a:xfrm rot="5400000">
            <a:off x="4966932" y="4236512"/>
            <a:ext cx="3139084" cy="12766"/>
          </a:xfrm>
          <a:prstGeom prst="line">
            <a:avLst/>
          </a:prstGeom>
          <a:ln w="9525" cap="flat" cmpd="sng" algn="ctr">
            <a:solidFill>
              <a:schemeClr val="tx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8" name="Title 3"/>
          <p:cNvSpPr txBox="1">
            <a:spLocks/>
          </p:cNvSpPr>
          <p:nvPr>
            <p:custDataLst>
              <p:tags r:id="rId21"/>
            </p:custDataLst>
          </p:nvPr>
        </p:nvSpPr>
        <p:spPr>
          <a:xfrm>
            <a:off x="754204" y="5545148"/>
            <a:ext cx="6891495" cy="822961"/>
          </a:xfrm>
          <a:prstGeom prst="rect">
            <a:avLst/>
          </a:prstGeom>
        </p:spPr>
        <p:txBody>
          <a:bodyPr vert="horz" lIns="80133" tIns="40067" rIns="80133" bIns="40067" rtlCol="0" anchor="b" anchorCtr="0">
            <a:normAutofit/>
          </a:bodyPr>
          <a:lstStyle>
            <a:lvl1pPr algn="l" defTabSz="914239" rtl="0" eaLnBrk="1" latinLnBrk="0" hangingPunct="1">
              <a:spcBef>
                <a:spcPct val="0"/>
              </a:spcBef>
              <a:buNone/>
              <a:defRPr sz="2800" kern="1200">
                <a:solidFill>
                  <a:schemeClr val="accent1"/>
                </a:solidFill>
                <a:latin typeface="Garamond" pitchFamily="18" charset="0"/>
                <a:ea typeface="+mj-ea"/>
                <a:cs typeface="+mj-cs"/>
              </a:defRPr>
            </a:lvl1pPr>
          </a:lstStyle>
          <a:p>
            <a:r>
              <a:rPr lang="en-GB" sz="1200" dirty="0">
                <a:solidFill>
                  <a:schemeClr val="tx2"/>
                </a:solidFill>
              </a:rPr>
              <a:t>Footnotes and assumptions: list</a:t>
            </a:r>
          </a:p>
          <a:p>
            <a:r>
              <a:rPr lang="en-GB" sz="1200" dirty="0">
                <a:solidFill>
                  <a:schemeClr val="tx2"/>
                </a:solidFill>
              </a:rPr>
              <a:t>Source: List sources</a:t>
            </a:r>
          </a:p>
        </p:txBody>
      </p:sp>
      <p:sp>
        <p:nvSpPr>
          <p:cNvPr id="59" name="Rectangle 4"/>
          <p:cNvSpPr>
            <a:spLocks noGrp="1" noChangeArrowheads="1"/>
          </p:cNvSpPr>
          <p:nvPr>
            <p:ph type="title"/>
            <p:custDataLst>
              <p:tags r:id="rId22"/>
            </p:custDataLst>
          </p:nvPr>
        </p:nvSpPr>
        <p:spPr/>
        <p:txBody>
          <a:bodyPr/>
          <a:lstStyle/>
          <a:p>
            <a:r>
              <a:rPr lang="en-GB" dirty="0" smtClean="0"/>
              <a:t>Message title – </a:t>
            </a:r>
            <a:r>
              <a:rPr lang="en-US" dirty="0" smtClean="0"/>
              <a:t>why are you showing it? flow</a:t>
            </a:r>
            <a:endParaRPr lang="en-GB" dirty="0"/>
          </a:p>
        </p:txBody>
      </p:sp>
      <p:sp>
        <p:nvSpPr>
          <p:cNvPr id="5" name="Footer Placeholder 4"/>
          <p:cNvSpPr>
            <a:spLocks noGrp="1"/>
          </p:cNvSpPr>
          <p:nvPr>
            <p:ph type="ftr" sz="quarter" idx="3"/>
          </p:nvPr>
        </p:nvSpPr>
        <p:spPr/>
        <p:txBody>
          <a:bodyPr/>
          <a:lstStyle/>
          <a:p>
            <a:r>
              <a:rPr lang="en-US" dirty="0" smtClean="0"/>
              <a:t>neil young |neil@ogcommunicationdesign.com |www.ogcommunicationdesign.com</a:t>
            </a:r>
            <a:endParaRPr lang="en-US" dirty="0"/>
          </a:p>
        </p:txBody>
      </p:sp>
      <p:sp>
        <p:nvSpPr>
          <p:cNvPr id="61" name="Slide Number Placeholder 1"/>
          <p:cNvSpPr>
            <a:spLocks noGrp="1"/>
          </p:cNvSpPr>
          <p:nvPr>
            <p:ph type="sldNum" sz="quarter" idx="4"/>
            <p:custDataLst>
              <p:tags r:id="rId23"/>
            </p:custDataLst>
          </p:nvPr>
        </p:nvSpPr>
        <p:spPr/>
        <p:txBody>
          <a:bodyPr/>
          <a:lstStyle/>
          <a:p>
            <a:fld id="{9EA32989-03B0-4860-BCBF-38A6D1811E33}" type="slidenum">
              <a:rPr lang="en-GB" smtClean="0"/>
              <a:pPr/>
              <a:t>18</a:t>
            </a:fld>
            <a:endParaRPr lang="en-GB" dirty="0"/>
          </a:p>
        </p:txBody>
      </p:sp>
      <p:sp>
        <p:nvSpPr>
          <p:cNvPr id="29" name="TextBox 28"/>
          <p:cNvSpPr txBox="1"/>
          <p:nvPr>
            <p:custDataLst>
              <p:tags r:id="rId24"/>
            </p:custDataLst>
          </p:nvPr>
        </p:nvSpPr>
        <p:spPr>
          <a:xfrm>
            <a:off x="755338" y="1481982"/>
            <a:ext cx="7606753" cy="362896"/>
          </a:xfrm>
          <a:prstGeom prst="rect">
            <a:avLst/>
          </a:prstGeom>
          <a:noFill/>
        </p:spPr>
        <p:txBody>
          <a:bodyPr wrap="square" lIns="80147" tIns="40074" rIns="80147" bIns="40074" rtlCol="0">
            <a:spAutoFit/>
          </a:bodyPr>
          <a:lstStyle/>
          <a:p>
            <a:r>
              <a:rPr lang="en-ZW" dirty="0">
                <a:latin typeface="Garamond" pitchFamily="18" charset="0"/>
              </a:rPr>
              <a:t>Title – what are you showing on this page?</a:t>
            </a:r>
          </a:p>
        </p:txBody>
      </p:sp>
    </p:spTree>
    <p:extLst>
      <p:ext uri="{BB962C8B-B14F-4D97-AF65-F5344CB8AC3E}">
        <p14:creationId xmlns:p14="http://schemas.microsoft.com/office/powerpoint/2010/main" val="127169332"/>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6029984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30" name="think-cell Slide" r:id="rId53" imgW="6350000" imgH="6350000" progId="TCLayout.ActiveDocument.1">
                  <p:embed/>
                </p:oleObj>
              </mc:Choice>
              <mc:Fallback>
                <p:oleObj name="think-cell Slide" r:id="rId53" imgW="6350000" imgH="6350000" progId="TCLayout.ActiveDocument.1">
                  <p:embed/>
                  <p:pic>
                    <p:nvPicPr>
                      <p:cNvPr id="0" name="Picture 11"/>
                      <p:cNvPicPr>
                        <a:picLocks noChangeAspect="1" noChangeArrowheads="1"/>
                      </p:cNvPicPr>
                      <p:nvPr/>
                    </p:nvPicPr>
                    <p:blipFill>
                      <a:blip r:embed="rId5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Freeform 16"/>
          <p:cNvSpPr>
            <a:spLocks/>
          </p:cNvSpPr>
          <p:nvPr>
            <p:custDataLst>
              <p:tags r:id="rId3"/>
            </p:custDataLst>
          </p:nvPr>
        </p:nvSpPr>
        <p:spPr bwMode="gray">
          <a:xfrm>
            <a:off x="6177702" y="1590724"/>
            <a:ext cx="182562" cy="2260600"/>
          </a:xfrm>
          <a:custGeom>
            <a:avLst/>
            <a:gdLst/>
            <a:ahLst/>
            <a:cxnLst>
              <a:cxn ang="0">
                <a:pos x="0" y="0"/>
              </a:cxn>
              <a:cxn ang="0">
                <a:pos x="65" y="0"/>
              </a:cxn>
              <a:cxn ang="0">
                <a:pos x="65" y="528"/>
              </a:cxn>
              <a:cxn ang="0">
                <a:pos x="115" y="576"/>
              </a:cxn>
              <a:cxn ang="0">
                <a:pos x="65" y="624"/>
              </a:cxn>
              <a:cxn ang="0">
                <a:pos x="65" y="1152"/>
              </a:cxn>
              <a:cxn ang="0">
                <a:pos x="0" y="1152"/>
              </a:cxn>
            </a:cxnLst>
            <a:rect l="0" t="0" r="r" b="b"/>
            <a:pathLst>
              <a:path w="115" h="1152">
                <a:moveTo>
                  <a:pt x="0" y="0"/>
                </a:moveTo>
                <a:lnTo>
                  <a:pt x="65" y="0"/>
                </a:lnTo>
                <a:lnTo>
                  <a:pt x="65" y="528"/>
                </a:lnTo>
                <a:lnTo>
                  <a:pt x="115" y="576"/>
                </a:lnTo>
                <a:lnTo>
                  <a:pt x="65" y="624"/>
                </a:lnTo>
                <a:lnTo>
                  <a:pt x="65" y="1152"/>
                </a:lnTo>
                <a:lnTo>
                  <a:pt x="0" y="1152"/>
                </a:lnTo>
              </a:path>
            </a:pathLst>
          </a:custGeom>
          <a:noFill/>
          <a:ln w="9525">
            <a:solidFill>
              <a:schemeClr val="tx2"/>
            </a:solidFill>
            <a:round/>
            <a:headEnd/>
            <a:tailEnd/>
          </a:ln>
          <a:effectLst/>
        </p:spPr>
        <p:txBody>
          <a:bodyPr wrap="none" lIns="91424" tIns="45712" rIns="91424" bIns="45712" anchor="ctr">
            <a:prstTxWarp prst="textNoShape">
              <a:avLst/>
            </a:prstTxWarp>
          </a:bodyPr>
          <a:lstStyle/>
          <a:p>
            <a:endParaRPr lang="en-GB" dirty="0">
              <a:latin typeface="Garamond"/>
            </a:endParaRPr>
          </a:p>
        </p:txBody>
      </p:sp>
      <p:sp>
        <p:nvSpPr>
          <p:cNvPr id="18" name="Rectangle 25"/>
          <p:cNvSpPr>
            <a:spLocks noChangeArrowheads="1"/>
          </p:cNvSpPr>
          <p:nvPr>
            <p:custDataLst>
              <p:tags r:id="rId4"/>
            </p:custDataLst>
          </p:nvPr>
        </p:nvSpPr>
        <p:spPr bwMode="gray">
          <a:xfrm>
            <a:off x="7017172" y="1479363"/>
            <a:ext cx="244475" cy="141287"/>
          </a:xfrm>
          <a:prstGeom prst="rect">
            <a:avLst/>
          </a:prstGeom>
          <a:solidFill>
            <a:schemeClr val="bg2"/>
          </a:solidFill>
          <a:ln w="9525">
            <a:solidFill>
              <a:schemeClr val="accent1"/>
            </a:solidFill>
            <a:miter lim="800000"/>
            <a:headEnd/>
            <a:tailEnd/>
          </a:ln>
          <a:effectLst/>
        </p:spPr>
        <p:txBody>
          <a:bodyPr wrap="none" lIns="91424" tIns="45712" rIns="91424" bIns="45712" anchor="ctr">
            <a:prstTxWarp prst="textNoShape">
              <a:avLst/>
            </a:prstTxWarp>
          </a:bodyPr>
          <a:lstStyle/>
          <a:p>
            <a:pPr algn="ctr"/>
            <a:endParaRPr lang="en-GB" dirty="0">
              <a:latin typeface="Garamond"/>
            </a:endParaRPr>
          </a:p>
        </p:txBody>
      </p:sp>
      <p:sp>
        <p:nvSpPr>
          <p:cNvPr id="19" name="Rectangle 26"/>
          <p:cNvSpPr>
            <a:spLocks noChangeArrowheads="1"/>
          </p:cNvSpPr>
          <p:nvPr>
            <p:custDataLst>
              <p:tags r:id="rId5"/>
            </p:custDataLst>
          </p:nvPr>
        </p:nvSpPr>
        <p:spPr bwMode="gray">
          <a:xfrm>
            <a:off x="7017172" y="1685738"/>
            <a:ext cx="244475" cy="141287"/>
          </a:xfrm>
          <a:prstGeom prst="rect">
            <a:avLst/>
          </a:prstGeom>
          <a:solidFill>
            <a:schemeClr val="bg2"/>
          </a:solidFill>
          <a:ln w="9525">
            <a:solidFill>
              <a:schemeClr val="accent1"/>
            </a:solidFill>
            <a:miter lim="800000"/>
            <a:headEnd/>
            <a:tailEnd/>
          </a:ln>
          <a:effectLst/>
        </p:spPr>
        <p:txBody>
          <a:bodyPr wrap="none" lIns="91424" tIns="45712" rIns="91424" bIns="45712" anchor="ctr">
            <a:prstTxWarp prst="textNoShape">
              <a:avLst/>
            </a:prstTxWarp>
          </a:bodyPr>
          <a:lstStyle/>
          <a:p>
            <a:pPr algn="ctr"/>
            <a:endParaRPr lang="en-GB" dirty="0">
              <a:latin typeface="Garamond"/>
            </a:endParaRPr>
          </a:p>
        </p:txBody>
      </p:sp>
      <p:sp>
        <p:nvSpPr>
          <p:cNvPr id="21" name="Rectangle 28"/>
          <p:cNvSpPr>
            <a:spLocks noChangeArrowheads="1"/>
          </p:cNvSpPr>
          <p:nvPr>
            <p:custDataLst>
              <p:tags r:id="rId6"/>
            </p:custDataLst>
          </p:nvPr>
        </p:nvSpPr>
        <p:spPr bwMode="gray">
          <a:xfrm>
            <a:off x="7017172" y="1479363"/>
            <a:ext cx="244475" cy="141287"/>
          </a:xfrm>
          <a:prstGeom prst="rect">
            <a:avLst/>
          </a:prstGeom>
          <a:solidFill>
            <a:schemeClr val="tx2"/>
          </a:solidFill>
          <a:ln w="9525">
            <a:solidFill>
              <a:schemeClr val="tx2"/>
            </a:solidFill>
            <a:miter lim="800000"/>
            <a:headEnd/>
            <a:tailEnd/>
          </a:ln>
          <a:effectLst/>
        </p:spPr>
        <p:txBody>
          <a:bodyPr wrap="none" lIns="91424" tIns="45712" rIns="91424" bIns="45712" anchor="ctr">
            <a:prstTxWarp prst="textNoShape">
              <a:avLst/>
            </a:prstTxWarp>
          </a:bodyPr>
          <a:lstStyle/>
          <a:p>
            <a:pPr algn="ctr"/>
            <a:endParaRPr lang="en-GB" dirty="0">
              <a:latin typeface="Garamond"/>
            </a:endParaRPr>
          </a:p>
        </p:txBody>
      </p:sp>
      <p:sp>
        <p:nvSpPr>
          <p:cNvPr id="22" name="Rectangle 29"/>
          <p:cNvSpPr>
            <a:spLocks noChangeArrowheads="1"/>
          </p:cNvSpPr>
          <p:nvPr>
            <p:custDataLst>
              <p:tags r:id="rId7"/>
            </p:custDataLst>
          </p:nvPr>
        </p:nvSpPr>
        <p:spPr bwMode="gray">
          <a:xfrm>
            <a:off x="7017172" y="1685738"/>
            <a:ext cx="244475" cy="141287"/>
          </a:xfrm>
          <a:prstGeom prst="rect">
            <a:avLst/>
          </a:prstGeom>
          <a:solidFill>
            <a:schemeClr val="bg1"/>
          </a:solidFill>
          <a:ln w="9525">
            <a:solidFill>
              <a:schemeClr val="tx2"/>
            </a:solidFill>
            <a:miter lim="800000"/>
            <a:headEnd/>
            <a:tailEnd/>
          </a:ln>
          <a:effectLst/>
        </p:spPr>
        <p:txBody>
          <a:bodyPr wrap="none" lIns="91424" tIns="45712" rIns="91424" bIns="45712" anchor="ctr">
            <a:prstTxWarp prst="textNoShape">
              <a:avLst/>
            </a:prstTxWarp>
          </a:bodyPr>
          <a:lstStyle/>
          <a:p>
            <a:pPr algn="ctr"/>
            <a:endParaRPr lang="en-GB" dirty="0">
              <a:latin typeface="Garamond"/>
            </a:endParaRPr>
          </a:p>
        </p:txBody>
      </p:sp>
      <p:sp>
        <p:nvSpPr>
          <p:cNvPr id="23" name="Rectangle 30"/>
          <p:cNvSpPr>
            <a:spLocks noChangeArrowheads="1"/>
          </p:cNvSpPr>
          <p:nvPr>
            <p:custDataLst>
              <p:tags r:id="rId8"/>
            </p:custDataLst>
          </p:nvPr>
        </p:nvSpPr>
        <p:spPr bwMode="gray">
          <a:xfrm>
            <a:off x="6937003" y="2177972"/>
            <a:ext cx="404813" cy="258763"/>
          </a:xfrm>
          <a:prstGeom prst="rect">
            <a:avLst/>
          </a:prstGeom>
          <a:noFill/>
          <a:ln w="9525">
            <a:noFill/>
            <a:miter lim="800000"/>
            <a:headEnd/>
            <a:tailEnd/>
          </a:ln>
          <a:effectLst/>
        </p:spPr>
        <p:txBody>
          <a:bodyPr lIns="0" tIns="0" rIns="0" bIns="0">
            <a:prstTxWarp prst="textNoShape">
              <a:avLst/>
            </a:prstTxWarp>
          </a:bodyPr>
          <a:lstStyle/>
          <a:p>
            <a:pPr algn="ctr" defTabSz="803133" eaLnBrk="0" hangingPunct="0"/>
            <a:r>
              <a:rPr lang="en-AU" sz="2000" dirty="0">
                <a:solidFill>
                  <a:schemeClr val="tx2"/>
                </a:solidFill>
                <a:latin typeface="Wingdings" charset="2"/>
              </a:rPr>
              <a:t>ü</a:t>
            </a:r>
          </a:p>
        </p:txBody>
      </p:sp>
      <p:sp>
        <p:nvSpPr>
          <p:cNvPr id="24" name="Rectangle 31"/>
          <p:cNvSpPr>
            <a:spLocks noChangeArrowheads="1"/>
          </p:cNvSpPr>
          <p:nvPr>
            <p:custDataLst>
              <p:tags r:id="rId9"/>
            </p:custDataLst>
          </p:nvPr>
        </p:nvSpPr>
        <p:spPr bwMode="gray">
          <a:xfrm>
            <a:off x="6937003" y="2400222"/>
            <a:ext cx="404813" cy="298450"/>
          </a:xfrm>
          <a:prstGeom prst="rect">
            <a:avLst/>
          </a:prstGeom>
          <a:noFill/>
          <a:ln w="9525">
            <a:noFill/>
            <a:miter lim="800000"/>
            <a:headEnd/>
            <a:tailEnd/>
          </a:ln>
          <a:effectLst/>
        </p:spPr>
        <p:txBody>
          <a:bodyPr lIns="0" tIns="0" rIns="0" bIns="0">
            <a:prstTxWarp prst="textNoShape">
              <a:avLst/>
            </a:prstTxWarp>
          </a:bodyPr>
          <a:lstStyle/>
          <a:p>
            <a:pPr algn="ctr" defTabSz="803133" eaLnBrk="0" hangingPunct="0"/>
            <a:r>
              <a:rPr lang="en-AU" sz="2000" dirty="0">
                <a:solidFill>
                  <a:schemeClr val="tx2"/>
                </a:solidFill>
                <a:latin typeface="Wingdings" charset="2"/>
              </a:rPr>
              <a:t>û</a:t>
            </a:r>
          </a:p>
        </p:txBody>
      </p:sp>
      <p:sp>
        <p:nvSpPr>
          <p:cNvPr id="25" name="Text Box 32"/>
          <p:cNvSpPr txBox="1">
            <a:spLocks noChangeArrowheads="1"/>
          </p:cNvSpPr>
          <p:nvPr>
            <p:custDataLst>
              <p:tags r:id="rId10"/>
            </p:custDataLst>
          </p:nvPr>
        </p:nvSpPr>
        <p:spPr bwMode="gray">
          <a:xfrm>
            <a:off x="7341653" y="2160178"/>
            <a:ext cx="1073150" cy="498582"/>
          </a:xfrm>
          <a:prstGeom prst="rect">
            <a:avLst/>
          </a:prstGeom>
          <a:noFill/>
          <a:ln w="9525">
            <a:noFill/>
            <a:miter lim="800000"/>
            <a:headEnd/>
            <a:tailEnd/>
          </a:ln>
          <a:effectLst/>
        </p:spPr>
        <p:txBody>
          <a:bodyPr lIns="91424" tIns="45712" rIns="91424" bIns="45712">
            <a:prstTxWarp prst="textNoShape">
              <a:avLst/>
            </a:prstTxWarp>
            <a:spAutoFit/>
          </a:bodyPr>
          <a:lstStyle/>
          <a:p>
            <a:pPr>
              <a:spcAft>
                <a:spcPct val="20000"/>
              </a:spcAft>
            </a:pPr>
            <a:r>
              <a:rPr lang="en-AU" sz="1200" dirty="0">
                <a:solidFill>
                  <a:srgbClr val="1F497D"/>
                </a:solidFill>
                <a:latin typeface="Garamond"/>
              </a:rPr>
              <a:t>Legend label</a:t>
            </a:r>
          </a:p>
          <a:p>
            <a:pPr>
              <a:spcAft>
                <a:spcPct val="20000"/>
              </a:spcAft>
            </a:pPr>
            <a:r>
              <a:rPr lang="en-AU" sz="1200" dirty="0">
                <a:solidFill>
                  <a:srgbClr val="1F497D"/>
                </a:solidFill>
                <a:latin typeface="Garamond"/>
              </a:rPr>
              <a:t>Legend label</a:t>
            </a:r>
          </a:p>
        </p:txBody>
      </p:sp>
      <p:sp>
        <p:nvSpPr>
          <p:cNvPr id="26" name="Text Box 33"/>
          <p:cNvSpPr txBox="1">
            <a:spLocks noChangeArrowheads="1"/>
          </p:cNvSpPr>
          <p:nvPr>
            <p:custDataLst>
              <p:tags r:id="rId11"/>
            </p:custDataLst>
          </p:nvPr>
        </p:nvSpPr>
        <p:spPr bwMode="gray">
          <a:xfrm>
            <a:off x="7341653" y="2945990"/>
            <a:ext cx="1073150" cy="498582"/>
          </a:xfrm>
          <a:prstGeom prst="rect">
            <a:avLst/>
          </a:prstGeom>
          <a:noFill/>
          <a:ln w="9525">
            <a:noFill/>
            <a:miter lim="800000"/>
            <a:headEnd/>
            <a:tailEnd/>
          </a:ln>
          <a:effectLst/>
        </p:spPr>
        <p:txBody>
          <a:bodyPr lIns="91424" tIns="45712" rIns="91424" bIns="45712">
            <a:prstTxWarp prst="textNoShape">
              <a:avLst/>
            </a:prstTxWarp>
            <a:spAutoFit/>
          </a:bodyPr>
          <a:lstStyle/>
          <a:p>
            <a:pPr>
              <a:spcAft>
                <a:spcPct val="20000"/>
              </a:spcAft>
            </a:pPr>
            <a:r>
              <a:rPr lang="en-AU" sz="1200" dirty="0">
                <a:solidFill>
                  <a:srgbClr val="1F497D"/>
                </a:solidFill>
                <a:latin typeface="Garamond"/>
              </a:rPr>
              <a:t>Legend label</a:t>
            </a:r>
          </a:p>
          <a:p>
            <a:pPr>
              <a:spcAft>
                <a:spcPct val="20000"/>
              </a:spcAft>
            </a:pPr>
            <a:r>
              <a:rPr lang="en-AU" sz="1200" dirty="0">
                <a:solidFill>
                  <a:srgbClr val="1F497D"/>
                </a:solidFill>
                <a:latin typeface="Garamond"/>
              </a:rPr>
              <a:t>Legend label</a:t>
            </a:r>
          </a:p>
        </p:txBody>
      </p:sp>
      <p:sp>
        <p:nvSpPr>
          <p:cNvPr id="27" name="Text Box 34"/>
          <p:cNvSpPr txBox="1">
            <a:spLocks noChangeArrowheads="1"/>
          </p:cNvSpPr>
          <p:nvPr>
            <p:custDataLst>
              <p:tags r:id="rId12"/>
            </p:custDataLst>
          </p:nvPr>
        </p:nvSpPr>
        <p:spPr bwMode="gray">
          <a:xfrm>
            <a:off x="7341653" y="3696877"/>
            <a:ext cx="1073150" cy="1220831"/>
          </a:xfrm>
          <a:prstGeom prst="rect">
            <a:avLst/>
          </a:prstGeom>
          <a:noFill/>
          <a:ln w="9525">
            <a:noFill/>
            <a:miter lim="800000"/>
            <a:headEnd/>
            <a:tailEnd/>
          </a:ln>
          <a:effectLst/>
        </p:spPr>
        <p:txBody>
          <a:bodyPr lIns="91424" tIns="45712" rIns="91424" bIns="45712">
            <a:prstTxWarp prst="textNoShape">
              <a:avLst/>
            </a:prstTxWarp>
            <a:spAutoFit/>
          </a:bodyPr>
          <a:lstStyle/>
          <a:p>
            <a:pPr>
              <a:spcAft>
                <a:spcPts val="394"/>
              </a:spcAft>
            </a:pPr>
            <a:r>
              <a:rPr lang="en-AU" sz="1200" dirty="0">
                <a:solidFill>
                  <a:srgbClr val="1F497D"/>
                </a:solidFill>
                <a:latin typeface="Garamond"/>
              </a:rPr>
              <a:t>Legend label</a:t>
            </a:r>
          </a:p>
          <a:p>
            <a:pPr>
              <a:spcAft>
                <a:spcPts val="394"/>
              </a:spcAft>
            </a:pPr>
            <a:r>
              <a:rPr lang="en-AU" sz="1200" dirty="0">
                <a:solidFill>
                  <a:srgbClr val="1F497D"/>
                </a:solidFill>
                <a:latin typeface="Garamond"/>
              </a:rPr>
              <a:t>Legend label</a:t>
            </a:r>
          </a:p>
          <a:p>
            <a:pPr>
              <a:spcAft>
                <a:spcPts val="394"/>
              </a:spcAft>
            </a:pPr>
            <a:r>
              <a:rPr lang="en-AU" sz="1200" dirty="0">
                <a:solidFill>
                  <a:srgbClr val="1F497D"/>
                </a:solidFill>
                <a:latin typeface="Garamond"/>
              </a:rPr>
              <a:t>Legend label</a:t>
            </a:r>
          </a:p>
          <a:p>
            <a:pPr>
              <a:spcAft>
                <a:spcPts val="394"/>
              </a:spcAft>
            </a:pPr>
            <a:r>
              <a:rPr lang="en-AU" sz="1200" dirty="0">
                <a:solidFill>
                  <a:srgbClr val="1F497D"/>
                </a:solidFill>
                <a:latin typeface="Garamond"/>
              </a:rPr>
              <a:t>Legend label</a:t>
            </a:r>
          </a:p>
          <a:p>
            <a:pPr>
              <a:spcAft>
                <a:spcPts val="394"/>
              </a:spcAft>
            </a:pPr>
            <a:r>
              <a:rPr lang="en-AU" sz="1200" dirty="0">
                <a:solidFill>
                  <a:srgbClr val="1F497D"/>
                </a:solidFill>
                <a:latin typeface="Garamond"/>
              </a:rPr>
              <a:t>Legend label</a:t>
            </a:r>
          </a:p>
        </p:txBody>
      </p:sp>
      <p:sp>
        <p:nvSpPr>
          <p:cNvPr id="28" name="Line 35"/>
          <p:cNvSpPr>
            <a:spLocks noChangeShapeType="1"/>
          </p:cNvSpPr>
          <p:nvPr>
            <p:custDataLst>
              <p:tags r:id="rId13"/>
            </p:custDataLst>
          </p:nvPr>
        </p:nvSpPr>
        <p:spPr bwMode="gray">
          <a:xfrm flipH="1">
            <a:off x="7013204" y="3142877"/>
            <a:ext cx="252412" cy="0"/>
          </a:xfrm>
          <a:prstGeom prst="line">
            <a:avLst/>
          </a:prstGeom>
          <a:noFill/>
          <a:ln w="38100">
            <a:solidFill>
              <a:schemeClr val="tx2"/>
            </a:solidFill>
            <a:round/>
            <a:headEnd/>
            <a:tailEnd/>
          </a:ln>
          <a:effectLst/>
        </p:spPr>
        <p:txBody>
          <a:bodyPr lIns="91424" tIns="45712" rIns="91424" bIns="45712">
            <a:prstTxWarp prst="textNoShape">
              <a:avLst/>
            </a:prstTxWarp>
          </a:bodyPr>
          <a:lstStyle/>
          <a:p>
            <a:pPr algn="ctr"/>
            <a:endParaRPr lang="en-GB" dirty="0">
              <a:latin typeface="Garamond"/>
            </a:endParaRPr>
          </a:p>
        </p:txBody>
      </p:sp>
      <p:sp>
        <p:nvSpPr>
          <p:cNvPr id="29" name="Line 36"/>
          <p:cNvSpPr>
            <a:spLocks noChangeShapeType="1"/>
          </p:cNvSpPr>
          <p:nvPr>
            <p:custDataLst>
              <p:tags r:id="rId14"/>
            </p:custDataLst>
          </p:nvPr>
        </p:nvSpPr>
        <p:spPr bwMode="gray">
          <a:xfrm flipH="1">
            <a:off x="7013204" y="3352834"/>
            <a:ext cx="252412" cy="0"/>
          </a:xfrm>
          <a:prstGeom prst="line">
            <a:avLst/>
          </a:prstGeom>
          <a:noFill/>
          <a:ln w="38100">
            <a:solidFill>
              <a:schemeClr val="tx2"/>
            </a:solidFill>
            <a:prstDash val="sysDot"/>
            <a:round/>
            <a:headEnd/>
            <a:tailEnd/>
          </a:ln>
          <a:effectLst/>
        </p:spPr>
        <p:txBody>
          <a:bodyPr lIns="91424" tIns="45712" rIns="91424" bIns="45712">
            <a:prstTxWarp prst="textNoShape">
              <a:avLst/>
            </a:prstTxWarp>
          </a:bodyPr>
          <a:lstStyle/>
          <a:p>
            <a:pPr algn="ctr"/>
            <a:endParaRPr lang="en-GB" dirty="0">
              <a:latin typeface="Garamond"/>
            </a:endParaRPr>
          </a:p>
        </p:txBody>
      </p:sp>
      <p:sp>
        <p:nvSpPr>
          <p:cNvPr id="30" name="Text Box 37"/>
          <p:cNvSpPr txBox="1">
            <a:spLocks noChangeArrowheads="1"/>
          </p:cNvSpPr>
          <p:nvPr>
            <p:custDataLst>
              <p:tags r:id="rId15"/>
            </p:custDataLst>
          </p:nvPr>
        </p:nvSpPr>
        <p:spPr bwMode="gray">
          <a:xfrm>
            <a:off x="7341653" y="5100227"/>
            <a:ext cx="1073150" cy="720181"/>
          </a:xfrm>
          <a:prstGeom prst="rect">
            <a:avLst/>
          </a:prstGeom>
          <a:noFill/>
          <a:ln w="9525">
            <a:noFill/>
            <a:miter lim="800000"/>
            <a:headEnd/>
            <a:tailEnd/>
          </a:ln>
          <a:effectLst/>
        </p:spPr>
        <p:txBody>
          <a:bodyPr lIns="91424" tIns="45712" rIns="91424" bIns="45712">
            <a:prstTxWarp prst="textNoShape">
              <a:avLst/>
            </a:prstTxWarp>
            <a:spAutoFit/>
          </a:bodyPr>
          <a:lstStyle/>
          <a:p>
            <a:pPr>
              <a:spcAft>
                <a:spcPct val="20000"/>
              </a:spcAft>
            </a:pPr>
            <a:r>
              <a:rPr lang="en-AU" sz="1200" dirty="0">
                <a:solidFill>
                  <a:srgbClr val="1F497D"/>
                </a:solidFill>
                <a:latin typeface="Garamond"/>
              </a:rPr>
              <a:t>Legend label</a:t>
            </a:r>
          </a:p>
          <a:p>
            <a:pPr>
              <a:spcAft>
                <a:spcPct val="20000"/>
              </a:spcAft>
            </a:pPr>
            <a:r>
              <a:rPr lang="en-AU" sz="1200" dirty="0">
                <a:solidFill>
                  <a:srgbClr val="1F497D"/>
                </a:solidFill>
                <a:latin typeface="Garamond"/>
              </a:rPr>
              <a:t>Legend label</a:t>
            </a:r>
          </a:p>
          <a:p>
            <a:pPr>
              <a:spcAft>
                <a:spcPct val="20000"/>
              </a:spcAft>
            </a:pPr>
            <a:r>
              <a:rPr lang="en-AU" sz="1200" dirty="0">
                <a:solidFill>
                  <a:srgbClr val="1F497D"/>
                </a:solidFill>
                <a:latin typeface="Garamond"/>
              </a:rPr>
              <a:t>Legend label</a:t>
            </a:r>
          </a:p>
        </p:txBody>
      </p:sp>
      <p:sp>
        <p:nvSpPr>
          <p:cNvPr id="34" name="AutoShape 38"/>
          <p:cNvSpPr>
            <a:spLocks noChangeArrowheads="1"/>
          </p:cNvSpPr>
          <p:nvPr>
            <p:custDataLst>
              <p:tags r:id="rId16"/>
            </p:custDataLst>
          </p:nvPr>
        </p:nvSpPr>
        <p:spPr bwMode="gray">
          <a:xfrm>
            <a:off x="7058863" y="5156972"/>
            <a:ext cx="171450" cy="147637"/>
          </a:xfrm>
          <a:prstGeom prst="triangle">
            <a:avLst>
              <a:gd name="adj" fmla="val 50000"/>
            </a:avLst>
          </a:prstGeom>
          <a:solidFill>
            <a:srgbClr val="009900"/>
          </a:solidFill>
          <a:ln w="9525">
            <a:noFill/>
            <a:miter lim="800000"/>
            <a:headEnd/>
            <a:tailEnd/>
          </a:ln>
          <a:effectLst/>
        </p:spPr>
        <p:txBody>
          <a:bodyPr wrap="none" lIns="91424" tIns="45712" rIns="91424" bIns="45712" anchor="ctr">
            <a:prstTxWarp prst="textNoShape">
              <a:avLst/>
            </a:prstTxWarp>
          </a:bodyPr>
          <a:lstStyle/>
          <a:p>
            <a:pPr algn="ctr"/>
            <a:endParaRPr lang="en-GB" dirty="0">
              <a:latin typeface="Garamond"/>
            </a:endParaRPr>
          </a:p>
        </p:txBody>
      </p:sp>
      <p:sp>
        <p:nvSpPr>
          <p:cNvPr id="35" name="AutoShape 39"/>
          <p:cNvSpPr>
            <a:spLocks noChangeArrowheads="1"/>
          </p:cNvSpPr>
          <p:nvPr>
            <p:custDataLst>
              <p:tags r:id="rId17"/>
            </p:custDataLst>
          </p:nvPr>
        </p:nvSpPr>
        <p:spPr bwMode="gray">
          <a:xfrm flipV="1">
            <a:off x="7058863" y="5419243"/>
            <a:ext cx="171450" cy="147637"/>
          </a:xfrm>
          <a:prstGeom prst="triangle">
            <a:avLst>
              <a:gd name="adj" fmla="val 50000"/>
            </a:avLst>
          </a:prstGeom>
          <a:solidFill>
            <a:srgbClr val="FF0000"/>
          </a:solidFill>
          <a:ln w="9525">
            <a:noFill/>
            <a:miter lim="800000"/>
            <a:headEnd/>
            <a:tailEnd/>
          </a:ln>
          <a:effectLst/>
        </p:spPr>
        <p:txBody>
          <a:bodyPr wrap="none" lIns="91424" tIns="45712" rIns="91424" bIns="45712" anchor="ctr">
            <a:prstTxWarp prst="textNoShape">
              <a:avLst/>
            </a:prstTxWarp>
          </a:bodyPr>
          <a:lstStyle/>
          <a:p>
            <a:pPr algn="ctr"/>
            <a:endParaRPr lang="en-GB" dirty="0">
              <a:latin typeface="Garamond"/>
            </a:endParaRPr>
          </a:p>
        </p:txBody>
      </p:sp>
      <p:sp>
        <p:nvSpPr>
          <p:cNvPr id="36" name="Oval 40"/>
          <p:cNvSpPr>
            <a:spLocks noChangeArrowheads="1"/>
          </p:cNvSpPr>
          <p:nvPr>
            <p:custDataLst>
              <p:tags r:id="rId18"/>
            </p:custDataLst>
          </p:nvPr>
        </p:nvSpPr>
        <p:spPr bwMode="gray">
          <a:xfrm>
            <a:off x="7081088" y="5643965"/>
            <a:ext cx="127000" cy="127000"/>
          </a:xfrm>
          <a:prstGeom prst="ellipse">
            <a:avLst/>
          </a:prstGeom>
          <a:solidFill>
            <a:srgbClr val="FFCC00"/>
          </a:solidFill>
          <a:ln w="9525">
            <a:noFill/>
            <a:round/>
            <a:headEnd/>
            <a:tailEnd/>
          </a:ln>
          <a:effectLst/>
        </p:spPr>
        <p:txBody>
          <a:bodyPr wrap="none" lIns="91424" tIns="45712" rIns="91424" bIns="45712" anchor="ctr">
            <a:prstTxWarp prst="textNoShape">
              <a:avLst/>
            </a:prstTxWarp>
          </a:bodyPr>
          <a:lstStyle/>
          <a:p>
            <a:pPr algn="ctr"/>
            <a:endParaRPr lang="en-GB" dirty="0">
              <a:latin typeface="Garamond"/>
            </a:endParaRPr>
          </a:p>
        </p:txBody>
      </p:sp>
      <p:grpSp>
        <p:nvGrpSpPr>
          <p:cNvPr id="6" name="Group 41"/>
          <p:cNvGrpSpPr>
            <a:grpSpLocks noChangeAspect="1"/>
          </p:cNvGrpSpPr>
          <p:nvPr>
            <p:custDataLst>
              <p:tags r:id="rId19"/>
            </p:custDataLst>
          </p:nvPr>
        </p:nvGrpSpPr>
        <p:grpSpPr bwMode="gray">
          <a:xfrm>
            <a:off x="7044161" y="3763479"/>
            <a:ext cx="190500" cy="190500"/>
            <a:chOff x="1645" y="1087"/>
            <a:chExt cx="160" cy="160"/>
          </a:xfrm>
          <a:solidFill>
            <a:schemeClr val="bg1"/>
          </a:solidFill>
        </p:grpSpPr>
        <p:sp>
          <p:nvSpPr>
            <p:cNvPr id="109" name="Oval 42"/>
            <p:cNvSpPr>
              <a:spLocks noChangeAspect="1" noChangeArrowheads="1"/>
            </p:cNvSpPr>
            <p:nvPr>
              <p:custDataLst>
                <p:tags r:id="rId50"/>
              </p:custDataLst>
            </p:nvPr>
          </p:nvSpPr>
          <p:spPr bwMode="gray">
            <a:xfrm>
              <a:off x="1645" y="1087"/>
              <a:ext cx="160" cy="160"/>
            </a:xfrm>
            <a:prstGeom prst="ellipse">
              <a:avLst/>
            </a:prstGeom>
            <a:grpFill/>
            <a:ln w="9525">
              <a:solidFill>
                <a:schemeClr val="tx2"/>
              </a:solidFill>
              <a:round/>
              <a:headEnd/>
              <a:tailEnd/>
            </a:ln>
            <a:effectLst/>
          </p:spPr>
          <p:txBody>
            <a:bodyPr wrap="none" anchor="ctr">
              <a:prstTxWarp prst="textNoShape">
                <a:avLst/>
              </a:prstTxWarp>
            </a:bodyPr>
            <a:lstStyle/>
            <a:p>
              <a:pPr algn="ctr"/>
              <a:endParaRPr lang="en-GB" dirty="0">
                <a:latin typeface="Garamond"/>
              </a:endParaRPr>
            </a:p>
          </p:txBody>
        </p:sp>
        <p:sp>
          <p:nvSpPr>
            <p:cNvPr id="110" name="Arc 43" hidden="1"/>
            <p:cNvSpPr>
              <a:spLocks noChangeAspect="1"/>
            </p:cNvSpPr>
            <p:nvPr>
              <p:custDataLst>
                <p:tags r:id="rId51"/>
              </p:custDataLst>
            </p:nvPr>
          </p:nvSpPr>
          <p:spPr bwMode="gray">
            <a:xfrm>
              <a:off x="1645" y="1087"/>
              <a:ext cx="160" cy="160"/>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path>
                <a:path w="43200" h="43200" stroke="0"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lnTo>
                    <a:pt x="21600" y="21600"/>
                  </a:lnTo>
                  <a:close/>
                </a:path>
              </a:pathLst>
            </a:custGeom>
            <a:grpFill/>
            <a:ln w="9525">
              <a:solidFill>
                <a:schemeClr val="tx2"/>
              </a:solidFill>
              <a:round/>
              <a:headEnd/>
              <a:tailEnd/>
            </a:ln>
            <a:effectLst/>
          </p:spPr>
          <p:txBody>
            <a:bodyPr wrap="none" anchor="ctr">
              <a:prstTxWarp prst="textNoShape">
                <a:avLst/>
              </a:prstTxWarp>
            </a:bodyPr>
            <a:lstStyle/>
            <a:p>
              <a:pPr algn="ctr"/>
              <a:endParaRPr lang="en-GB" dirty="0">
                <a:latin typeface="Garamond"/>
              </a:endParaRPr>
            </a:p>
          </p:txBody>
        </p:sp>
      </p:grpSp>
      <p:grpSp>
        <p:nvGrpSpPr>
          <p:cNvPr id="182" name="Group 181"/>
          <p:cNvGrpSpPr/>
          <p:nvPr>
            <p:custDataLst>
              <p:tags r:id="rId20"/>
            </p:custDataLst>
          </p:nvPr>
        </p:nvGrpSpPr>
        <p:grpSpPr bwMode="gray">
          <a:xfrm>
            <a:off x="7044161" y="4012953"/>
            <a:ext cx="190500" cy="190501"/>
            <a:chOff x="8375871" y="4570380"/>
            <a:chExt cx="222779" cy="210036"/>
          </a:xfrm>
        </p:grpSpPr>
        <p:sp>
          <p:nvSpPr>
            <p:cNvPr id="38" name="Oval 45"/>
            <p:cNvSpPr>
              <a:spLocks noChangeAspect="1" noChangeArrowheads="1"/>
            </p:cNvSpPr>
            <p:nvPr>
              <p:custDataLst>
                <p:tags r:id="rId48"/>
              </p:custDataLst>
            </p:nvPr>
          </p:nvSpPr>
          <p:spPr bwMode="gray">
            <a:xfrm>
              <a:off x="8375871" y="4570381"/>
              <a:ext cx="222779" cy="210035"/>
            </a:xfrm>
            <a:prstGeom prst="ellipse">
              <a:avLst/>
            </a:prstGeom>
            <a:solidFill>
              <a:schemeClr val="tx2"/>
            </a:solidFill>
            <a:ln w="9525">
              <a:solidFill>
                <a:schemeClr val="tx2"/>
              </a:solidFill>
              <a:round/>
              <a:headEnd/>
              <a:tailEnd/>
            </a:ln>
            <a:effectLst/>
          </p:spPr>
          <p:txBody>
            <a:bodyPr wrap="none" lIns="104306" tIns="52153" rIns="104306" bIns="52153" anchor="ctr">
              <a:prstTxWarp prst="textNoShape">
                <a:avLst/>
              </a:prstTxWarp>
            </a:bodyPr>
            <a:lstStyle/>
            <a:p>
              <a:pPr algn="ctr"/>
              <a:endParaRPr lang="en-GB" dirty="0">
                <a:latin typeface="Garamond"/>
              </a:endParaRPr>
            </a:p>
          </p:txBody>
        </p:sp>
        <p:sp>
          <p:nvSpPr>
            <p:cNvPr id="39" name="Arc 46"/>
            <p:cNvSpPr>
              <a:spLocks noChangeAspect="1"/>
            </p:cNvSpPr>
            <p:nvPr>
              <p:custDataLst>
                <p:tags r:id="rId49"/>
              </p:custDataLst>
            </p:nvPr>
          </p:nvSpPr>
          <p:spPr bwMode="gray">
            <a:xfrm>
              <a:off x="8487260" y="4570380"/>
              <a:ext cx="111390" cy="105018"/>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0" y="-1"/>
                  </a:moveTo>
                  <a:cubicBezTo>
                    <a:pt x="11929" y="-1"/>
                    <a:pt x="21600" y="9670"/>
                    <a:pt x="21600" y="21600"/>
                  </a:cubicBezTo>
                </a:path>
                <a:path w="21600" h="21600" stroke="0" extrusionOk="0">
                  <a:moveTo>
                    <a:pt x="0" y="-1"/>
                  </a:moveTo>
                  <a:cubicBezTo>
                    <a:pt x="11929" y="-1"/>
                    <a:pt x="21600" y="9670"/>
                    <a:pt x="21600" y="21600"/>
                  </a:cubicBezTo>
                  <a:lnTo>
                    <a:pt x="0" y="21600"/>
                  </a:lnTo>
                  <a:close/>
                </a:path>
              </a:pathLst>
            </a:custGeom>
            <a:solidFill>
              <a:srgbClr val="FFFFFF"/>
            </a:solidFill>
            <a:ln w="9525">
              <a:solidFill>
                <a:schemeClr val="tx2"/>
              </a:solidFill>
              <a:round/>
              <a:headEnd/>
              <a:tailEnd/>
            </a:ln>
            <a:effectLst/>
          </p:spPr>
          <p:txBody>
            <a:bodyPr wrap="none" lIns="104306" tIns="52153" rIns="104306" bIns="52153" anchor="ctr">
              <a:prstTxWarp prst="textNoShape">
                <a:avLst/>
              </a:prstTxWarp>
            </a:bodyPr>
            <a:lstStyle/>
            <a:p>
              <a:pPr algn="ctr"/>
              <a:endParaRPr lang="en-GB" dirty="0">
                <a:latin typeface="Garamond"/>
              </a:endParaRPr>
            </a:p>
          </p:txBody>
        </p:sp>
      </p:grpSp>
      <p:grpSp>
        <p:nvGrpSpPr>
          <p:cNvPr id="183" name="Group 182"/>
          <p:cNvGrpSpPr/>
          <p:nvPr>
            <p:custDataLst>
              <p:tags r:id="rId21"/>
            </p:custDataLst>
          </p:nvPr>
        </p:nvGrpSpPr>
        <p:grpSpPr bwMode="gray">
          <a:xfrm>
            <a:off x="7044161" y="4262428"/>
            <a:ext cx="190500" cy="192088"/>
            <a:chOff x="8375871" y="4808420"/>
            <a:chExt cx="222779" cy="211786"/>
          </a:xfrm>
        </p:grpSpPr>
        <p:sp>
          <p:nvSpPr>
            <p:cNvPr id="40" name="Oval 48"/>
            <p:cNvSpPr>
              <a:spLocks noChangeAspect="1" noChangeArrowheads="1"/>
            </p:cNvSpPr>
            <p:nvPr>
              <p:custDataLst>
                <p:tags r:id="rId46"/>
              </p:custDataLst>
            </p:nvPr>
          </p:nvSpPr>
          <p:spPr bwMode="gray">
            <a:xfrm>
              <a:off x="8375871" y="4808420"/>
              <a:ext cx="222779" cy="211786"/>
            </a:xfrm>
            <a:prstGeom prst="ellipse">
              <a:avLst/>
            </a:prstGeom>
            <a:solidFill>
              <a:srgbClr val="FFFFFF"/>
            </a:solidFill>
            <a:ln w="9525">
              <a:solidFill>
                <a:schemeClr val="tx2"/>
              </a:solidFill>
              <a:round/>
              <a:headEnd/>
              <a:tailEnd/>
            </a:ln>
            <a:effectLst/>
          </p:spPr>
          <p:txBody>
            <a:bodyPr wrap="none" lIns="104306" tIns="52153" rIns="104306" bIns="52153" anchor="ctr">
              <a:prstTxWarp prst="textNoShape">
                <a:avLst/>
              </a:prstTxWarp>
            </a:bodyPr>
            <a:lstStyle/>
            <a:p>
              <a:pPr algn="ctr"/>
              <a:endParaRPr lang="en-GB" dirty="0">
                <a:latin typeface="Garamond"/>
              </a:endParaRPr>
            </a:p>
          </p:txBody>
        </p:sp>
        <p:sp>
          <p:nvSpPr>
            <p:cNvPr id="41" name="Arc 49"/>
            <p:cNvSpPr>
              <a:spLocks noChangeAspect="1"/>
            </p:cNvSpPr>
            <p:nvPr>
              <p:custDataLst>
                <p:tags r:id="rId47"/>
              </p:custDataLst>
            </p:nvPr>
          </p:nvSpPr>
          <p:spPr bwMode="gray">
            <a:xfrm>
              <a:off x="8487260" y="4808420"/>
              <a:ext cx="111390" cy="211786"/>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0" y="-1"/>
                  </a:moveTo>
                  <a:cubicBezTo>
                    <a:pt x="11929" y="0"/>
                    <a:pt x="21600" y="9670"/>
                    <a:pt x="21600" y="21600"/>
                  </a:cubicBezTo>
                  <a:cubicBezTo>
                    <a:pt x="21600" y="33529"/>
                    <a:pt x="11929" y="43200"/>
                    <a:pt x="-1" y="43200"/>
                  </a:cubicBezTo>
                </a:path>
                <a:path w="21600" h="43200" stroke="0" extrusionOk="0">
                  <a:moveTo>
                    <a:pt x="0" y="-1"/>
                  </a:moveTo>
                  <a:cubicBezTo>
                    <a:pt x="11929" y="0"/>
                    <a:pt x="21600" y="9670"/>
                    <a:pt x="21600" y="21600"/>
                  </a:cubicBezTo>
                  <a:cubicBezTo>
                    <a:pt x="21600" y="33529"/>
                    <a:pt x="11929" y="43200"/>
                    <a:pt x="-1" y="43200"/>
                  </a:cubicBezTo>
                  <a:lnTo>
                    <a:pt x="0" y="21600"/>
                  </a:lnTo>
                  <a:close/>
                </a:path>
              </a:pathLst>
            </a:custGeom>
            <a:solidFill>
              <a:schemeClr val="tx2"/>
            </a:solidFill>
            <a:ln w="9525">
              <a:solidFill>
                <a:schemeClr val="tx2"/>
              </a:solidFill>
              <a:round/>
              <a:headEnd/>
              <a:tailEnd/>
            </a:ln>
            <a:effectLst/>
          </p:spPr>
          <p:txBody>
            <a:bodyPr wrap="none" lIns="104306" tIns="52153" rIns="104306" bIns="52153" anchor="ctr">
              <a:prstTxWarp prst="textNoShape">
                <a:avLst/>
              </a:prstTxWarp>
            </a:bodyPr>
            <a:lstStyle/>
            <a:p>
              <a:pPr algn="ctr"/>
              <a:endParaRPr lang="en-GB" dirty="0">
                <a:latin typeface="Garamond"/>
              </a:endParaRPr>
            </a:p>
          </p:txBody>
        </p:sp>
      </p:grpSp>
      <p:grpSp>
        <p:nvGrpSpPr>
          <p:cNvPr id="181" name="Group 180"/>
          <p:cNvGrpSpPr/>
          <p:nvPr>
            <p:custDataLst>
              <p:tags r:id="rId22"/>
            </p:custDataLst>
          </p:nvPr>
        </p:nvGrpSpPr>
        <p:grpSpPr bwMode="gray">
          <a:xfrm>
            <a:off x="7044161" y="4513491"/>
            <a:ext cx="190500" cy="190500"/>
            <a:chOff x="8375871" y="5000586"/>
            <a:chExt cx="222779" cy="210035"/>
          </a:xfrm>
        </p:grpSpPr>
        <p:sp>
          <p:nvSpPr>
            <p:cNvPr id="42" name="Oval 51"/>
            <p:cNvSpPr>
              <a:spLocks noChangeAspect="1" noChangeArrowheads="1"/>
            </p:cNvSpPr>
            <p:nvPr>
              <p:custDataLst>
                <p:tags r:id="rId44"/>
              </p:custDataLst>
            </p:nvPr>
          </p:nvSpPr>
          <p:spPr bwMode="gray">
            <a:xfrm>
              <a:off x="8375871" y="5000586"/>
              <a:ext cx="222779" cy="210035"/>
            </a:xfrm>
            <a:prstGeom prst="ellipse">
              <a:avLst/>
            </a:prstGeom>
            <a:solidFill>
              <a:srgbClr val="FFFFFF"/>
            </a:solidFill>
            <a:ln w="9525">
              <a:solidFill>
                <a:schemeClr val="tx2"/>
              </a:solidFill>
              <a:round/>
              <a:headEnd/>
              <a:tailEnd/>
            </a:ln>
            <a:effectLst/>
          </p:spPr>
          <p:txBody>
            <a:bodyPr wrap="none" lIns="104306" tIns="52153" rIns="104306" bIns="52153" anchor="ctr">
              <a:prstTxWarp prst="textNoShape">
                <a:avLst/>
              </a:prstTxWarp>
            </a:bodyPr>
            <a:lstStyle/>
            <a:p>
              <a:pPr algn="ctr"/>
              <a:endParaRPr lang="en-GB" dirty="0">
                <a:latin typeface="Garamond"/>
              </a:endParaRPr>
            </a:p>
          </p:txBody>
        </p:sp>
        <p:sp>
          <p:nvSpPr>
            <p:cNvPr id="43" name="Arc 52"/>
            <p:cNvSpPr>
              <a:spLocks noChangeAspect="1"/>
            </p:cNvSpPr>
            <p:nvPr>
              <p:custDataLst>
                <p:tags r:id="rId45"/>
              </p:custDataLst>
            </p:nvPr>
          </p:nvSpPr>
          <p:spPr bwMode="gray">
            <a:xfrm>
              <a:off x="8375871" y="5000586"/>
              <a:ext cx="222779" cy="210035"/>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600" y="-1"/>
                  </a:moveTo>
                  <a:cubicBezTo>
                    <a:pt x="33529" y="0"/>
                    <a:pt x="43200" y="9670"/>
                    <a:pt x="43200" y="21600"/>
                  </a:cubicBezTo>
                  <a:cubicBezTo>
                    <a:pt x="43200" y="33529"/>
                    <a:pt x="33529" y="43200"/>
                    <a:pt x="21600" y="43200"/>
                  </a:cubicBezTo>
                  <a:cubicBezTo>
                    <a:pt x="9670" y="43199"/>
                    <a:pt x="-1" y="33529"/>
                    <a:pt x="-1" y="21599"/>
                  </a:cubicBezTo>
                </a:path>
                <a:path w="43200" h="43200" stroke="0" extrusionOk="0">
                  <a:moveTo>
                    <a:pt x="21600" y="-1"/>
                  </a:moveTo>
                  <a:cubicBezTo>
                    <a:pt x="33529" y="0"/>
                    <a:pt x="43200" y="9670"/>
                    <a:pt x="43200" y="21600"/>
                  </a:cubicBezTo>
                  <a:cubicBezTo>
                    <a:pt x="43200" y="33529"/>
                    <a:pt x="33529" y="43200"/>
                    <a:pt x="21600" y="43200"/>
                  </a:cubicBezTo>
                  <a:cubicBezTo>
                    <a:pt x="9670" y="43199"/>
                    <a:pt x="-1" y="33529"/>
                    <a:pt x="-1" y="21599"/>
                  </a:cubicBezTo>
                  <a:lnTo>
                    <a:pt x="21600" y="21600"/>
                  </a:lnTo>
                  <a:close/>
                </a:path>
              </a:pathLst>
            </a:custGeom>
            <a:solidFill>
              <a:schemeClr val="tx2"/>
            </a:solidFill>
            <a:ln w="9525">
              <a:solidFill>
                <a:schemeClr val="tx2"/>
              </a:solidFill>
              <a:round/>
              <a:headEnd/>
              <a:tailEnd/>
            </a:ln>
            <a:effectLst/>
          </p:spPr>
          <p:txBody>
            <a:bodyPr wrap="none" lIns="104306" tIns="52153" rIns="104306" bIns="52153" anchor="ctr">
              <a:prstTxWarp prst="textNoShape">
                <a:avLst/>
              </a:prstTxWarp>
            </a:bodyPr>
            <a:lstStyle/>
            <a:p>
              <a:pPr algn="ctr"/>
              <a:endParaRPr lang="en-GB" dirty="0">
                <a:latin typeface="Garamond"/>
              </a:endParaRPr>
            </a:p>
          </p:txBody>
        </p:sp>
      </p:grpSp>
      <p:grpSp>
        <p:nvGrpSpPr>
          <p:cNvPr id="7" name="Group 53"/>
          <p:cNvGrpSpPr>
            <a:grpSpLocks noChangeAspect="1"/>
          </p:cNvGrpSpPr>
          <p:nvPr>
            <p:custDataLst>
              <p:tags r:id="rId23"/>
            </p:custDataLst>
          </p:nvPr>
        </p:nvGrpSpPr>
        <p:grpSpPr bwMode="gray">
          <a:xfrm>
            <a:off x="7044161" y="4762965"/>
            <a:ext cx="190500" cy="190500"/>
            <a:chOff x="1645" y="2181"/>
            <a:chExt cx="160" cy="160"/>
          </a:xfrm>
          <a:solidFill>
            <a:schemeClr val="bg2"/>
          </a:solidFill>
        </p:grpSpPr>
        <p:sp>
          <p:nvSpPr>
            <p:cNvPr id="107" name="Oval 54"/>
            <p:cNvSpPr>
              <a:spLocks noChangeAspect="1" noChangeArrowheads="1"/>
            </p:cNvSpPr>
            <p:nvPr>
              <p:custDataLst>
                <p:tags r:id="rId42"/>
              </p:custDataLst>
            </p:nvPr>
          </p:nvSpPr>
          <p:spPr bwMode="gray">
            <a:xfrm>
              <a:off x="1645" y="2181"/>
              <a:ext cx="160" cy="160"/>
            </a:xfrm>
            <a:prstGeom prst="ellipse">
              <a:avLst/>
            </a:prstGeom>
            <a:grpFill/>
            <a:ln w="9525">
              <a:solidFill>
                <a:schemeClr val="tx2"/>
              </a:solidFill>
              <a:round/>
              <a:headEnd/>
              <a:tailEnd/>
            </a:ln>
            <a:effectLst/>
          </p:spPr>
          <p:txBody>
            <a:bodyPr wrap="none" anchor="ctr">
              <a:prstTxWarp prst="textNoShape">
                <a:avLst/>
              </a:prstTxWarp>
            </a:bodyPr>
            <a:lstStyle/>
            <a:p>
              <a:pPr algn="ctr"/>
              <a:endParaRPr lang="en-GB" dirty="0">
                <a:latin typeface="Garamond"/>
              </a:endParaRPr>
            </a:p>
          </p:txBody>
        </p:sp>
        <p:sp>
          <p:nvSpPr>
            <p:cNvPr id="108" name="Oval 55"/>
            <p:cNvSpPr>
              <a:spLocks noChangeAspect="1" noChangeArrowheads="1"/>
            </p:cNvSpPr>
            <p:nvPr>
              <p:custDataLst>
                <p:tags r:id="rId43"/>
              </p:custDataLst>
            </p:nvPr>
          </p:nvSpPr>
          <p:spPr bwMode="gray">
            <a:xfrm>
              <a:off x="1645" y="2181"/>
              <a:ext cx="160" cy="160"/>
            </a:xfrm>
            <a:prstGeom prst="ellipse">
              <a:avLst/>
            </a:prstGeom>
            <a:solidFill>
              <a:schemeClr val="tx2"/>
            </a:solidFill>
            <a:ln w="9525">
              <a:solidFill>
                <a:schemeClr val="tx2"/>
              </a:solidFill>
              <a:round/>
              <a:headEnd/>
              <a:tailEnd/>
            </a:ln>
            <a:effectLst/>
          </p:spPr>
          <p:txBody>
            <a:bodyPr wrap="none" anchor="ctr">
              <a:prstTxWarp prst="textNoShape">
                <a:avLst/>
              </a:prstTxWarp>
            </a:bodyPr>
            <a:lstStyle/>
            <a:p>
              <a:pPr algn="ctr"/>
              <a:endParaRPr lang="en-GB" dirty="0">
                <a:latin typeface="Garamond"/>
              </a:endParaRPr>
            </a:p>
          </p:txBody>
        </p:sp>
      </p:grpSp>
      <p:sp>
        <p:nvSpPr>
          <p:cNvPr id="45" name="AutoShape 56"/>
          <p:cNvSpPr>
            <a:spLocks noChangeArrowheads="1"/>
          </p:cNvSpPr>
          <p:nvPr>
            <p:custDataLst>
              <p:tags r:id="rId24"/>
            </p:custDataLst>
          </p:nvPr>
        </p:nvSpPr>
        <p:spPr bwMode="gray">
          <a:xfrm>
            <a:off x="1089957" y="4408047"/>
            <a:ext cx="793750" cy="885825"/>
          </a:xfrm>
          <a:prstGeom prst="rightArrow">
            <a:avLst>
              <a:gd name="adj1" fmla="val 66426"/>
              <a:gd name="adj2" fmla="val 52394"/>
            </a:avLst>
          </a:prstGeom>
          <a:solidFill>
            <a:schemeClr val="tx2"/>
          </a:solidFill>
          <a:ln w="9525">
            <a:solidFill>
              <a:schemeClr val="bg1"/>
            </a:solidFill>
            <a:miter lim="800000"/>
            <a:headEnd/>
            <a:tailEnd/>
          </a:ln>
          <a:effectLst/>
        </p:spPr>
        <p:txBody>
          <a:bodyPr wrap="none" lIns="91424" tIns="45712" rIns="91424" bIns="45712" anchor="ctr">
            <a:prstTxWarp prst="textNoShape">
              <a:avLst/>
            </a:prstTxWarp>
          </a:bodyPr>
          <a:lstStyle/>
          <a:p>
            <a:endParaRPr lang="en-GB" dirty="0">
              <a:latin typeface="Garamond"/>
            </a:endParaRPr>
          </a:p>
        </p:txBody>
      </p:sp>
      <p:sp>
        <p:nvSpPr>
          <p:cNvPr id="46" name="AutoShape 57"/>
          <p:cNvSpPr>
            <a:spLocks noChangeArrowheads="1"/>
          </p:cNvSpPr>
          <p:nvPr>
            <p:custDataLst>
              <p:tags r:id="rId25"/>
            </p:custDataLst>
          </p:nvPr>
        </p:nvSpPr>
        <p:spPr bwMode="gray">
          <a:xfrm rot="5400000">
            <a:off x="3182396" y="4691345"/>
            <a:ext cx="1012825" cy="225425"/>
          </a:xfrm>
          <a:prstGeom prst="triangle">
            <a:avLst>
              <a:gd name="adj" fmla="val 50000"/>
            </a:avLst>
          </a:prstGeom>
          <a:solidFill>
            <a:schemeClr val="tx2"/>
          </a:solidFill>
          <a:ln w="9525">
            <a:solidFill>
              <a:schemeClr val="bg1"/>
            </a:solidFill>
            <a:miter lim="800000"/>
            <a:headEnd/>
            <a:tailEnd/>
          </a:ln>
          <a:effectLst/>
        </p:spPr>
        <p:txBody>
          <a:bodyPr wrap="none" lIns="91424" tIns="45712" rIns="91424" bIns="45712" anchor="ctr">
            <a:prstTxWarp prst="textNoShape">
              <a:avLst/>
            </a:prstTxWarp>
          </a:bodyPr>
          <a:lstStyle/>
          <a:p>
            <a:endParaRPr lang="en-GB" dirty="0">
              <a:latin typeface="Garamond"/>
            </a:endParaRPr>
          </a:p>
        </p:txBody>
      </p:sp>
      <p:sp>
        <p:nvSpPr>
          <p:cNvPr id="47" name="AutoShape 58"/>
          <p:cNvSpPr>
            <a:spLocks noChangeArrowheads="1"/>
          </p:cNvSpPr>
          <p:nvPr>
            <p:custDataLst>
              <p:tags r:id="rId26"/>
            </p:custDataLst>
          </p:nvPr>
        </p:nvSpPr>
        <p:spPr bwMode="gray">
          <a:xfrm>
            <a:off x="4399034" y="4700870"/>
            <a:ext cx="238125" cy="206375"/>
          </a:xfrm>
          <a:prstGeom prst="triangle">
            <a:avLst>
              <a:gd name="adj" fmla="val 50000"/>
            </a:avLst>
          </a:prstGeom>
          <a:solidFill>
            <a:schemeClr val="tx2"/>
          </a:solidFill>
          <a:ln w="9525">
            <a:solidFill>
              <a:schemeClr val="bg1"/>
            </a:solidFill>
            <a:miter lim="800000"/>
            <a:headEnd/>
            <a:tailEnd/>
          </a:ln>
          <a:effectLst/>
        </p:spPr>
        <p:txBody>
          <a:bodyPr wrap="none" lIns="91424" tIns="45712" rIns="91424" bIns="45712" anchor="ctr">
            <a:prstTxWarp prst="textNoShape">
              <a:avLst/>
            </a:prstTxWarp>
          </a:bodyPr>
          <a:lstStyle/>
          <a:p>
            <a:endParaRPr lang="en-GB" dirty="0">
              <a:latin typeface="Garamond"/>
            </a:endParaRPr>
          </a:p>
        </p:txBody>
      </p:sp>
      <p:sp>
        <p:nvSpPr>
          <p:cNvPr id="48" name="AutoShape 59"/>
          <p:cNvSpPr>
            <a:spLocks noChangeArrowheads="1"/>
          </p:cNvSpPr>
          <p:nvPr>
            <p:custDataLst>
              <p:tags r:id="rId27"/>
            </p:custDataLst>
          </p:nvPr>
        </p:nvSpPr>
        <p:spPr bwMode="gray">
          <a:xfrm rot="10800000">
            <a:off x="2116491" y="4574893"/>
            <a:ext cx="862091" cy="483258"/>
          </a:xfrm>
          <a:prstGeom prst="rightArrow">
            <a:avLst>
              <a:gd name="adj1" fmla="val 50000"/>
              <a:gd name="adj2" fmla="val 50174"/>
            </a:avLst>
          </a:prstGeom>
          <a:solidFill>
            <a:schemeClr val="tx2"/>
          </a:solidFill>
          <a:ln w="9525">
            <a:solidFill>
              <a:schemeClr val="bg1"/>
            </a:solidFill>
            <a:miter lim="800000"/>
            <a:headEnd/>
            <a:tailEnd/>
          </a:ln>
          <a:effectLst/>
        </p:spPr>
        <p:txBody>
          <a:bodyPr wrap="none" lIns="91424" tIns="45712" rIns="91424" bIns="45712" anchor="ctr">
            <a:prstTxWarp prst="textNoShape">
              <a:avLst/>
            </a:prstTxWarp>
          </a:bodyPr>
          <a:lstStyle/>
          <a:p>
            <a:endParaRPr lang="en-GB" dirty="0">
              <a:latin typeface="Garamond"/>
            </a:endParaRPr>
          </a:p>
        </p:txBody>
      </p:sp>
      <p:grpSp>
        <p:nvGrpSpPr>
          <p:cNvPr id="8" name="Group 970"/>
          <p:cNvGrpSpPr>
            <a:grpSpLocks/>
          </p:cNvGrpSpPr>
          <p:nvPr>
            <p:custDataLst>
              <p:tags r:id="rId28"/>
            </p:custDataLst>
          </p:nvPr>
        </p:nvGrpSpPr>
        <p:grpSpPr bwMode="gray">
          <a:xfrm>
            <a:off x="5767093" y="4776614"/>
            <a:ext cx="315912" cy="925513"/>
            <a:chOff x="2392" y="1646"/>
            <a:chExt cx="352" cy="1028"/>
          </a:xfrm>
          <a:solidFill>
            <a:schemeClr val="tx2"/>
          </a:solidFill>
        </p:grpSpPr>
        <p:sp>
          <p:nvSpPr>
            <p:cNvPr id="105" name="Freeform 957"/>
            <p:cNvSpPr>
              <a:spLocks/>
            </p:cNvSpPr>
            <p:nvPr/>
          </p:nvSpPr>
          <p:spPr bwMode="gray">
            <a:xfrm>
              <a:off x="2558" y="2556"/>
              <a:ext cx="172" cy="82"/>
            </a:xfrm>
            <a:custGeom>
              <a:avLst/>
              <a:gdLst/>
              <a:ahLst/>
              <a:cxnLst>
                <a:cxn ang="0">
                  <a:pos x="6" y="0"/>
                </a:cxn>
                <a:cxn ang="0">
                  <a:pos x="6" y="0"/>
                </a:cxn>
                <a:cxn ang="0">
                  <a:pos x="0" y="28"/>
                </a:cxn>
                <a:cxn ang="0">
                  <a:pos x="0" y="42"/>
                </a:cxn>
                <a:cxn ang="0">
                  <a:pos x="0" y="46"/>
                </a:cxn>
                <a:cxn ang="0">
                  <a:pos x="0" y="50"/>
                </a:cxn>
                <a:cxn ang="0">
                  <a:pos x="2" y="68"/>
                </a:cxn>
                <a:cxn ang="0">
                  <a:pos x="2" y="68"/>
                </a:cxn>
                <a:cxn ang="0">
                  <a:pos x="2" y="72"/>
                </a:cxn>
                <a:cxn ang="0">
                  <a:pos x="4" y="74"/>
                </a:cxn>
                <a:cxn ang="0">
                  <a:pos x="6" y="76"/>
                </a:cxn>
                <a:cxn ang="0">
                  <a:pos x="8" y="76"/>
                </a:cxn>
                <a:cxn ang="0">
                  <a:pos x="8" y="76"/>
                </a:cxn>
                <a:cxn ang="0">
                  <a:pos x="34" y="78"/>
                </a:cxn>
                <a:cxn ang="0">
                  <a:pos x="46" y="76"/>
                </a:cxn>
                <a:cxn ang="0">
                  <a:pos x="52" y="74"/>
                </a:cxn>
                <a:cxn ang="0">
                  <a:pos x="54" y="72"/>
                </a:cxn>
                <a:cxn ang="0">
                  <a:pos x="54" y="68"/>
                </a:cxn>
                <a:cxn ang="0">
                  <a:pos x="54" y="68"/>
                </a:cxn>
                <a:cxn ang="0">
                  <a:pos x="74" y="74"/>
                </a:cxn>
                <a:cxn ang="0">
                  <a:pos x="90" y="80"/>
                </a:cxn>
                <a:cxn ang="0">
                  <a:pos x="104" y="82"/>
                </a:cxn>
                <a:cxn ang="0">
                  <a:pos x="104" y="82"/>
                </a:cxn>
                <a:cxn ang="0">
                  <a:pos x="132" y="82"/>
                </a:cxn>
                <a:cxn ang="0">
                  <a:pos x="154" y="82"/>
                </a:cxn>
                <a:cxn ang="0">
                  <a:pos x="172" y="78"/>
                </a:cxn>
                <a:cxn ang="0">
                  <a:pos x="172" y="78"/>
                </a:cxn>
                <a:cxn ang="0">
                  <a:pos x="172" y="76"/>
                </a:cxn>
                <a:cxn ang="0">
                  <a:pos x="170" y="70"/>
                </a:cxn>
                <a:cxn ang="0">
                  <a:pos x="166" y="66"/>
                </a:cxn>
                <a:cxn ang="0">
                  <a:pos x="160" y="62"/>
                </a:cxn>
                <a:cxn ang="0">
                  <a:pos x="152" y="58"/>
                </a:cxn>
                <a:cxn ang="0">
                  <a:pos x="142" y="56"/>
                </a:cxn>
                <a:cxn ang="0">
                  <a:pos x="142" y="56"/>
                </a:cxn>
                <a:cxn ang="0">
                  <a:pos x="114" y="50"/>
                </a:cxn>
                <a:cxn ang="0">
                  <a:pos x="110" y="48"/>
                </a:cxn>
                <a:cxn ang="0">
                  <a:pos x="104" y="44"/>
                </a:cxn>
                <a:cxn ang="0">
                  <a:pos x="104" y="44"/>
                </a:cxn>
                <a:cxn ang="0">
                  <a:pos x="90" y="30"/>
                </a:cxn>
                <a:cxn ang="0">
                  <a:pos x="90" y="30"/>
                </a:cxn>
                <a:cxn ang="0">
                  <a:pos x="84" y="14"/>
                </a:cxn>
                <a:cxn ang="0">
                  <a:pos x="84" y="14"/>
                </a:cxn>
                <a:cxn ang="0">
                  <a:pos x="64" y="14"/>
                </a:cxn>
                <a:cxn ang="0">
                  <a:pos x="44" y="12"/>
                </a:cxn>
                <a:cxn ang="0">
                  <a:pos x="26" y="8"/>
                </a:cxn>
                <a:cxn ang="0">
                  <a:pos x="6" y="0"/>
                </a:cxn>
                <a:cxn ang="0">
                  <a:pos x="6" y="0"/>
                </a:cxn>
              </a:cxnLst>
              <a:rect l="0" t="0" r="r" b="b"/>
              <a:pathLst>
                <a:path w="172" h="82">
                  <a:moveTo>
                    <a:pt x="6" y="0"/>
                  </a:moveTo>
                  <a:lnTo>
                    <a:pt x="6" y="0"/>
                  </a:lnTo>
                  <a:lnTo>
                    <a:pt x="0" y="28"/>
                  </a:lnTo>
                  <a:lnTo>
                    <a:pt x="0" y="42"/>
                  </a:lnTo>
                  <a:lnTo>
                    <a:pt x="0" y="46"/>
                  </a:lnTo>
                  <a:lnTo>
                    <a:pt x="0" y="50"/>
                  </a:lnTo>
                  <a:lnTo>
                    <a:pt x="2" y="68"/>
                  </a:lnTo>
                  <a:lnTo>
                    <a:pt x="2" y="68"/>
                  </a:lnTo>
                  <a:lnTo>
                    <a:pt x="2" y="72"/>
                  </a:lnTo>
                  <a:lnTo>
                    <a:pt x="4" y="74"/>
                  </a:lnTo>
                  <a:lnTo>
                    <a:pt x="6" y="76"/>
                  </a:lnTo>
                  <a:lnTo>
                    <a:pt x="8" y="76"/>
                  </a:lnTo>
                  <a:lnTo>
                    <a:pt x="8" y="76"/>
                  </a:lnTo>
                  <a:lnTo>
                    <a:pt x="34" y="78"/>
                  </a:lnTo>
                  <a:lnTo>
                    <a:pt x="46" y="76"/>
                  </a:lnTo>
                  <a:lnTo>
                    <a:pt x="52" y="74"/>
                  </a:lnTo>
                  <a:lnTo>
                    <a:pt x="54" y="72"/>
                  </a:lnTo>
                  <a:lnTo>
                    <a:pt x="54" y="68"/>
                  </a:lnTo>
                  <a:lnTo>
                    <a:pt x="54" y="68"/>
                  </a:lnTo>
                  <a:lnTo>
                    <a:pt x="74" y="74"/>
                  </a:lnTo>
                  <a:lnTo>
                    <a:pt x="90" y="80"/>
                  </a:lnTo>
                  <a:lnTo>
                    <a:pt x="104" y="82"/>
                  </a:lnTo>
                  <a:lnTo>
                    <a:pt x="104" y="82"/>
                  </a:lnTo>
                  <a:lnTo>
                    <a:pt x="132" y="82"/>
                  </a:lnTo>
                  <a:lnTo>
                    <a:pt x="154" y="82"/>
                  </a:lnTo>
                  <a:lnTo>
                    <a:pt x="172" y="78"/>
                  </a:lnTo>
                  <a:lnTo>
                    <a:pt x="172" y="78"/>
                  </a:lnTo>
                  <a:lnTo>
                    <a:pt x="172" y="76"/>
                  </a:lnTo>
                  <a:lnTo>
                    <a:pt x="170" y="70"/>
                  </a:lnTo>
                  <a:lnTo>
                    <a:pt x="166" y="66"/>
                  </a:lnTo>
                  <a:lnTo>
                    <a:pt x="160" y="62"/>
                  </a:lnTo>
                  <a:lnTo>
                    <a:pt x="152" y="58"/>
                  </a:lnTo>
                  <a:lnTo>
                    <a:pt x="142" y="56"/>
                  </a:lnTo>
                  <a:lnTo>
                    <a:pt x="142" y="56"/>
                  </a:lnTo>
                  <a:lnTo>
                    <a:pt x="114" y="50"/>
                  </a:lnTo>
                  <a:lnTo>
                    <a:pt x="110" y="48"/>
                  </a:lnTo>
                  <a:lnTo>
                    <a:pt x="104" y="44"/>
                  </a:lnTo>
                  <a:lnTo>
                    <a:pt x="104" y="44"/>
                  </a:lnTo>
                  <a:lnTo>
                    <a:pt x="90" y="30"/>
                  </a:lnTo>
                  <a:lnTo>
                    <a:pt x="90" y="30"/>
                  </a:lnTo>
                  <a:lnTo>
                    <a:pt x="84" y="14"/>
                  </a:lnTo>
                  <a:lnTo>
                    <a:pt x="84" y="14"/>
                  </a:lnTo>
                  <a:lnTo>
                    <a:pt x="64" y="14"/>
                  </a:lnTo>
                  <a:lnTo>
                    <a:pt x="44" y="12"/>
                  </a:lnTo>
                  <a:lnTo>
                    <a:pt x="26" y="8"/>
                  </a:lnTo>
                  <a:lnTo>
                    <a:pt x="6" y="0"/>
                  </a:lnTo>
                  <a:lnTo>
                    <a:pt x="6" y="0"/>
                  </a:lnTo>
                  <a:close/>
                </a:path>
              </a:pathLst>
            </a:custGeom>
            <a:grpFill/>
            <a:ln w="9525">
              <a:noFill/>
              <a:round/>
              <a:headEnd/>
              <a:tailEnd/>
            </a:ln>
          </p:spPr>
          <p:txBody>
            <a:bodyPr>
              <a:prstTxWarp prst="textNoShape">
                <a:avLst/>
              </a:prstTxWarp>
            </a:bodyPr>
            <a:lstStyle/>
            <a:p>
              <a:endParaRPr lang="en-GB" dirty="0">
                <a:latin typeface="Garamond"/>
              </a:endParaRPr>
            </a:p>
          </p:txBody>
        </p:sp>
        <p:sp>
          <p:nvSpPr>
            <p:cNvPr id="106" name="Freeform 959"/>
            <p:cNvSpPr>
              <a:spLocks noEditPoints="1"/>
            </p:cNvSpPr>
            <p:nvPr/>
          </p:nvSpPr>
          <p:spPr bwMode="gray">
            <a:xfrm>
              <a:off x="2392" y="1646"/>
              <a:ext cx="352" cy="1028"/>
            </a:xfrm>
            <a:custGeom>
              <a:avLst/>
              <a:gdLst/>
              <a:ahLst/>
              <a:cxnLst>
                <a:cxn ang="0">
                  <a:pos x="296" y="118"/>
                </a:cxn>
                <a:cxn ang="0">
                  <a:pos x="276" y="76"/>
                </a:cxn>
                <a:cxn ang="0">
                  <a:pos x="256" y="68"/>
                </a:cxn>
                <a:cxn ang="0">
                  <a:pos x="232" y="68"/>
                </a:cxn>
                <a:cxn ang="0">
                  <a:pos x="214" y="72"/>
                </a:cxn>
                <a:cxn ang="0">
                  <a:pos x="210" y="98"/>
                </a:cxn>
                <a:cxn ang="0">
                  <a:pos x="244" y="126"/>
                </a:cxn>
                <a:cxn ang="0">
                  <a:pos x="264" y="154"/>
                </a:cxn>
                <a:cxn ang="0">
                  <a:pos x="244" y="184"/>
                </a:cxn>
                <a:cxn ang="0">
                  <a:pos x="210" y="156"/>
                </a:cxn>
                <a:cxn ang="0">
                  <a:pos x="170" y="148"/>
                </a:cxn>
                <a:cxn ang="0">
                  <a:pos x="182" y="144"/>
                </a:cxn>
                <a:cxn ang="0">
                  <a:pos x="190" y="130"/>
                </a:cxn>
                <a:cxn ang="0">
                  <a:pos x="190" y="124"/>
                </a:cxn>
                <a:cxn ang="0">
                  <a:pos x="194" y="114"/>
                </a:cxn>
                <a:cxn ang="0">
                  <a:pos x="206" y="94"/>
                </a:cxn>
                <a:cxn ang="0">
                  <a:pos x="210" y="78"/>
                </a:cxn>
                <a:cxn ang="0">
                  <a:pos x="214" y="48"/>
                </a:cxn>
                <a:cxn ang="0">
                  <a:pos x="208" y="20"/>
                </a:cxn>
                <a:cxn ang="0">
                  <a:pos x="138" y="2"/>
                </a:cxn>
                <a:cxn ang="0">
                  <a:pos x="106" y="68"/>
                </a:cxn>
                <a:cxn ang="0">
                  <a:pos x="156" y="144"/>
                </a:cxn>
                <a:cxn ang="0">
                  <a:pos x="94" y="120"/>
                </a:cxn>
                <a:cxn ang="0">
                  <a:pos x="34" y="166"/>
                </a:cxn>
                <a:cxn ang="0">
                  <a:pos x="14" y="212"/>
                </a:cxn>
                <a:cxn ang="0">
                  <a:pos x="2" y="286"/>
                </a:cxn>
                <a:cxn ang="0">
                  <a:pos x="6" y="384"/>
                </a:cxn>
                <a:cxn ang="0">
                  <a:pos x="46" y="462"/>
                </a:cxn>
                <a:cxn ang="0">
                  <a:pos x="66" y="528"/>
                </a:cxn>
                <a:cxn ang="0">
                  <a:pos x="88" y="550"/>
                </a:cxn>
                <a:cxn ang="0">
                  <a:pos x="82" y="620"/>
                </a:cxn>
                <a:cxn ang="0">
                  <a:pos x="70" y="768"/>
                </a:cxn>
                <a:cxn ang="0">
                  <a:pos x="78" y="934"/>
                </a:cxn>
                <a:cxn ang="0">
                  <a:pos x="76" y="998"/>
                </a:cxn>
                <a:cxn ang="0">
                  <a:pos x="136" y="1024"/>
                </a:cxn>
                <a:cxn ang="0">
                  <a:pos x="202" y="1022"/>
                </a:cxn>
                <a:cxn ang="0">
                  <a:pos x="158" y="968"/>
                </a:cxn>
                <a:cxn ang="0">
                  <a:pos x="144" y="938"/>
                </a:cxn>
                <a:cxn ang="0">
                  <a:pos x="146" y="886"/>
                </a:cxn>
                <a:cxn ang="0">
                  <a:pos x="148" y="766"/>
                </a:cxn>
                <a:cxn ang="0">
                  <a:pos x="174" y="668"/>
                </a:cxn>
                <a:cxn ang="0">
                  <a:pos x="204" y="692"/>
                </a:cxn>
                <a:cxn ang="0">
                  <a:pos x="198" y="762"/>
                </a:cxn>
                <a:cxn ang="0">
                  <a:pos x="176" y="894"/>
                </a:cxn>
                <a:cxn ang="0">
                  <a:pos x="234" y="934"/>
                </a:cxn>
                <a:cxn ang="0">
                  <a:pos x="270" y="876"/>
                </a:cxn>
                <a:cxn ang="0">
                  <a:pos x="288" y="728"/>
                </a:cxn>
                <a:cxn ang="0">
                  <a:pos x="292" y="660"/>
                </a:cxn>
                <a:cxn ang="0">
                  <a:pos x="272" y="500"/>
                </a:cxn>
                <a:cxn ang="0">
                  <a:pos x="240" y="350"/>
                </a:cxn>
                <a:cxn ang="0">
                  <a:pos x="232" y="270"/>
                </a:cxn>
                <a:cxn ang="0">
                  <a:pos x="334" y="264"/>
                </a:cxn>
                <a:cxn ang="0">
                  <a:pos x="322" y="138"/>
                </a:cxn>
                <a:cxn ang="0">
                  <a:pos x="222" y="96"/>
                </a:cxn>
                <a:cxn ang="0">
                  <a:pos x="218" y="82"/>
                </a:cxn>
                <a:cxn ang="0">
                  <a:pos x="228" y="92"/>
                </a:cxn>
                <a:cxn ang="0">
                  <a:pos x="236" y="98"/>
                </a:cxn>
                <a:cxn ang="0">
                  <a:pos x="84" y="390"/>
                </a:cxn>
                <a:cxn ang="0">
                  <a:pos x="76" y="386"/>
                </a:cxn>
                <a:cxn ang="0">
                  <a:pos x="72" y="366"/>
                </a:cxn>
                <a:cxn ang="0">
                  <a:pos x="76" y="346"/>
                </a:cxn>
                <a:cxn ang="0">
                  <a:pos x="86" y="362"/>
                </a:cxn>
              </a:cxnLst>
              <a:rect l="0" t="0" r="r" b="b"/>
              <a:pathLst>
                <a:path w="352" h="1028">
                  <a:moveTo>
                    <a:pt x="322" y="138"/>
                  </a:moveTo>
                  <a:lnTo>
                    <a:pt x="322" y="138"/>
                  </a:lnTo>
                  <a:lnTo>
                    <a:pt x="316" y="136"/>
                  </a:lnTo>
                  <a:lnTo>
                    <a:pt x="308" y="130"/>
                  </a:lnTo>
                  <a:lnTo>
                    <a:pt x="308" y="130"/>
                  </a:lnTo>
                  <a:lnTo>
                    <a:pt x="296" y="118"/>
                  </a:lnTo>
                  <a:lnTo>
                    <a:pt x="296" y="118"/>
                  </a:lnTo>
                  <a:lnTo>
                    <a:pt x="294" y="114"/>
                  </a:lnTo>
                  <a:lnTo>
                    <a:pt x="292" y="110"/>
                  </a:lnTo>
                  <a:lnTo>
                    <a:pt x="284" y="106"/>
                  </a:lnTo>
                  <a:lnTo>
                    <a:pt x="284" y="106"/>
                  </a:lnTo>
                  <a:lnTo>
                    <a:pt x="284" y="102"/>
                  </a:lnTo>
                  <a:lnTo>
                    <a:pt x="280" y="88"/>
                  </a:lnTo>
                  <a:lnTo>
                    <a:pt x="276" y="76"/>
                  </a:lnTo>
                  <a:lnTo>
                    <a:pt x="272" y="70"/>
                  </a:lnTo>
                  <a:lnTo>
                    <a:pt x="266" y="68"/>
                  </a:lnTo>
                  <a:lnTo>
                    <a:pt x="266" y="68"/>
                  </a:lnTo>
                  <a:lnTo>
                    <a:pt x="262" y="68"/>
                  </a:lnTo>
                  <a:lnTo>
                    <a:pt x="260" y="68"/>
                  </a:lnTo>
                  <a:lnTo>
                    <a:pt x="256" y="68"/>
                  </a:lnTo>
                  <a:lnTo>
                    <a:pt x="256" y="68"/>
                  </a:lnTo>
                  <a:lnTo>
                    <a:pt x="250" y="66"/>
                  </a:lnTo>
                  <a:lnTo>
                    <a:pt x="246" y="66"/>
                  </a:lnTo>
                  <a:lnTo>
                    <a:pt x="244" y="68"/>
                  </a:lnTo>
                  <a:lnTo>
                    <a:pt x="244" y="70"/>
                  </a:lnTo>
                  <a:lnTo>
                    <a:pt x="244" y="70"/>
                  </a:lnTo>
                  <a:lnTo>
                    <a:pt x="236" y="68"/>
                  </a:lnTo>
                  <a:lnTo>
                    <a:pt x="232" y="68"/>
                  </a:lnTo>
                  <a:lnTo>
                    <a:pt x="230" y="70"/>
                  </a:lnTo>
                  <a:lnTo>
                    <a:pt x="228" y="72"/>
                  </a:lnTo>
                  <a:lnTo>
                    <a:pt x="228" y="72"/>
                  </a:lnTo>
                  <a:lnTo>
                    <a:pt x="224" y="70"/>
                  </a:lnTo>
                  <a:lnTo>
                    <a:pt x="218" y="70"/>
                  </a:lnTo>
                  <a:lnTo>
                    <a:pt x="214" y="72"/>
                  </a:lnTo>
                  <a:lnTo>
                    <a:pt x="214" y="72"/>
                  </a:lnTo>
                  <a:lnTo>
                    <a:pt x="210" y="78"/>
                  </a:lnTo>
                  <a:lnTo>
                    <a:pt x="210" y="78"/>
                  </a:lnTo>
                  <a:lnTo>
                    <a:pt x="206" y="92"/>
                  </a:lnTo>
                  <a:lnTo>
                    <a:pt x="206" y="92"/>
                  </a:lnTo>
                  <a:lnTo>
                    <a:pt x="206" y="94"/>
                  </a:lnTo>
                  <a:lnTo>
                    <a:pt x="206" y="94"/>
                  </a:lnTo>
                  <a:lnTo>
                    <a:pt x="210" y="98"/>
                  </a:lnTo>
                  <a:lnTo>
                    <a:pt x="216" y="106"/>
                  </a:lnTo>
                  <a:lnTo>
                    <a:pt x="216" y="106"/>
                  </a:lnTo>
                  <a:lnTo>
                    <a:pt x="226" y="114"/>
                  </a:lnTo>
                  <a:lnTo>
                    <a:pt x="226" y="114"/>
                  </a:lnTo>
                  <a:lnTo>
                    <a:pt x="228" y="118"/>
                  </a:lnTo>
                  <a:lnTo>
                    <a:pt x="234" y="122"/>
                  </a:lnTo>
                  <a:lnTo>
                    <a:pt x="244" y="126"/>
                  </a:lnTo>
                  <a:lnTo>
                    <a:pt x="258" y="130"/>
                  </a:lnTo>
                  <a:lnTo>
                    <a:pt x="258" y="130"/>
                  </a:lnTo>
                  <a:lnTo>
                    <a:pt x="260" y="136"/>
                  </a:lnTo>
                  <a:lnTo>
                    <a:pt x="262" y="138"/>
                  </a:lnTo>
                  <a:lnTo>
                    <a:pt x="262" y="142"/>
                  </a:lnTo>
                  <a:lnTo>
                    <a:pt x="262" y="142"/>
                  </a:lnTo>
                  <a:lnTo>
                    <a:pt x="264" y="154"/>
                  </a:lnTo>
                  <a:lnTo>
                    <a:pt x="272" y="170"/>
                  </a:lnTo>
                  <a:lnTo>
                    <a:pt x="282" y="190"/>
                  </a:lnTo>
                  <a:lnTo>
                    <a:pt x="282" y="200"/>
                  </a:lnTo>
                  <a:lnTo>
                    <a:pt x="282" y="200"/>
                  </a:lnTo>
                  <a:lnTo>
                    <a:pt x="276" y="196"/>
                  </a:lnTo>
                  <a:lnTo>
                    <a:pt x="264" y="190"/>
                  </a:lnTo>
                  <a:lnTo>
                    <a:pt x="244" y="184"/>
                  </a:lnTo>
                  <a:lnTo>
                    <a:pt x="244" y="184"/>
                  </a:lnTo>
                  <a:lnTo>
                    <a:pt x="236" y="176"/>
                  </a:lnTo>
                  <a:lnTo>
                    <a:pt x="222" y="164"/>
                  </a:lnTo>
                  <a:lnTo>
                    <a:pt x="222" y="164"/>
                  </a:lnTo>
                  <a:lnTo>
                    <a:pt x="218" y="160"/>
                  </a:lnTo>
                  <a:lnTo>
                    <a:pt x="214" y="158"/>
                  </a:lnTo>
                  <a:lnTo>
                    <a:pt x="210" y="156"/>
                  </a:lnTo>
                  <a:lnTo>
                    <a:pt x="210" y="156"/>
                  </a:lnTo>
                  <a:lnTo>
                    <a:pt x="204" y="154"/>
                  </a:lnTo>
                  <a:lnTo>
                    <a:pt x="190" y="154"/>
                  </a:lnTo>
                  <a:lnTo>
                    <a:pt x="190" y="154"/>
                  </a:lnTo>
                  <a:lnTo>
                    <a:pt x="182" y="152"/>
                  </a:lnTo>
                  <a:lnTo>
                    <a:pt x="176" y="150"/>
                  </a:lnTo>
                  <a:lnTo>
                    <a:pt x="170" y="148"/>
                  </a:lnTo>
                  <a:lnTo>
                    <a:pt x="168" y="146"/>
                  </a:lnTo>
                  <a:lnTo>
                    <a:pt x="166" y="144"/>
                  </a:lnTo>
                  <a:lnTo>
                    <a:pt x="166" y="144"/>
                  </a:lnTo>
                  <a:lnTo>
                    <a:pt x="170" y="146"/>
                  </a:lnTo>
                  <a:lnTo>
                    <a:pt x="178" y="146"/>
                  </a:lnTo>
                  <a:lnTo>
                    <a:pt x="178" y="146"/>
                  </a:lnTo>
                  <a:lnTo>
                    <a:pt x="182" y="144"/>
                  </a:lnTo>
                  <a:lnTo>
                    <a:pt x="184" y="140"/>
                  </a:lnTo>
                  <a:lnTo>
                    <a:pt x="186" y="136"/>
                  </a:lnTo>
                  <a:lnTo>
                    <a:pt x="186" y="136"/>
                  </a:lnTo>
                  <a:lnTo>
                    <a:pt x="186" y="132"/>
                  </a:lnTo>
                  <a:lnTo>
                    <a:pt x="188" y="130"/>
                  </a:lnTo>
                  <a:lnTo>
                    <a:pt x="188" y="130"/>
                  </a:lnTo>
                  <a:lnTo>
                    <a:pt x="190" y="130"/>
                  </a:lnTo>
                  <a:lnTo>
                    <a:pt x="190" y="128"/>
                  </a:lnTo>
                  <a:lnTo>
                    <a:pt x="192" y="126"/>
                  </a:lnTo>
                  <a:lnTo>
                    <a:pt x="192" y="126"/>
                  </a:lnTo>
                  <a:lnTo>
                    <a:pt x="190" y="126"/>
                  </a:lnTo>
                  <a:lnTo>
                    <a:pt x="190" y="124"/>
                  </a:lnTo>
                  <a:lnTo>
                    <a:pt x="190" y="124"/>
                  </a:lnTo>
                  <a:lnTo>
                    <a:pt x="190" y="124"/>
                  </a:lnTo>
                  <a:lnTo>
                    <a:pt x="192" y="124"/>
                  </a:lnTo>
                  <a:lnTo>
                    <a:pt x="194" y="122"/>
                  </a:lnTo>
                  <a:lnTo>
                    <a:pt x="194" y="120"/>
                  </a:lnTo>
                  <a:lnTo>
                    <a:pt x="194" y="120"/>
                  </a:lnTo>
                  <a:lnTo>
                    <a:pt x="194" y="116"/>
                  </a:lnTo>
                  <a:lnTo>
                    <a:pt x="194" y="114"/>
                  </a:lnTo>
                  <a:lnTo>
                    <a:pt x="194" y="114"/>
                  </a:lnTo>
                  <a:lnTo>
                    <a:pt x="194" y="114"/>
                  </a:lnTo>
                  <a:lnTo>
                    <a:pt x="202" y="114"/>
                  </a:lnTo>
                  <a:lnTo>
                    <a:pt x="206" y="114"/>
                  </a:lnTo>
                  <a:lnTo>
                    <a:pt x="206" y="114"/>
                  </a:lnTo>
                  <a:lnTo>
                    <a:pt x="206" y="104"/>
                  </a:lnTo>
                  <a:lnTo>
                    <a:pt x="206" y="94"/>
                  </a:lnTo>
                  <a:lnTo>
                    <a:pt x="206" y="94"/>
                  </a:lnTo>
                  <a:lnTo>
                    <a:pt x="206" y="92"/>
                  </a:lnTo>
                  <a:lnTo>
                    <a:pt x="206" y="92"/>
                  </a:lnTo>
                  <a:lnTo>
                    <a:pt x="206" y="86"/>
                  </a:lnTo>
                  <a:lnTo>
                    <a:pt x="206" y="82"/>
                  </a:lnTo>
                  <a:lnTo>
                    <a:pt x="206" y="82"/>
                  </a:lnTo>
                  <a:lnTo>
                    <a:pt x="210" y="78"/>
                  </a:lnTo>
                  <a:lnTo>
                    <a:pt x="210" y="78"/>
                  </a:lnTo>
                  <a:lnTo>
                    <a:pt x="210" y="76"/>
                  </a:lnTo>
                  <a:lnTo>
                    <a:pt x="210" y="76"/>
                  </a:lnTo>
                  <a:lnTo>
                    <a:pt x="212" y="68"/>
                  </a:lnTo>
                  <a:lnTo>
                    <a:pt x="214" y="60"/>
                  </a:lnTo>
                  <a:lnTo>
                    <a:pt x="212" y="50"/>
                  </a:lnTo>
                  <a:lnTo>
                    <a:pt x="212" y="50"/>
                  </a:lnTo>
                  <a:lnTo>
                    <a:pt x="214" y="48"/>
                  </a:lnTo>
                  <a:lnTo>
                    <a:pt x="216" y="46"/>
                  </a:lnTo>
                  <a:lnTo>
                    <a:pt x="220" y="42"/>
                  </a:lnTo>
                  <a:lnTo>
                    <a:pt x="220" y="38"/>
                  </a:lnTo>
                  <a:lnTo>
                    <a:pt x="212" y="28"/>
                  </a:lnTo>
                  <a:lnTo>
                    <a:pt x="212" y="28"/>
                  </a:lnTo>
                  <a:lnTo>
                    <a:pt x="212" y="24"/>
                  </a:lnTo>
                  <a:lnTo>
                    <a:pt x="208" y="20"/>
                  </a:lnTo>
                  <a:lnTo>
                    <a:pt x="202" y="16"/>
                  </a:lnTo>
                  <a:lnTo>
                    <a:pt x="194" y="10"/>
                  </a:lnTo>
                  <a:lnTo>
                    <a:pt x="182" y="6"/>
                  </a:lnTo>
                  <a:lnTo>
                    <a:pt x="166" y="2"/>
                  </a:lnTo>
                  <a:lnTo>
                    <a:pt x="144" y="0"/>
                  </a:lnTo>
                  <a:lnTo>
                    <a:pt x="144" y="0"/>
                  </a:lnTo>
                  <a:lnTo>
                    <a:pt x="138" y="2"/>
                  </a:lnTo>
                  <a:lnTo>
                    <a:pt x="130" y="4"/>
                  </a:lnTo>
                  <a:lnTo>
                    <a:pt x="122" y="10"/>
                  </a:lnTo>
                  <a:lnTo>
                    <a:pt x="114" y="18"/>
                  </a:lnTo>
                  <a:lnTo>
                    <a:pt x="108" y="30"/>
                  </a:lnTo>
                  <a:lnTo>
                    <a:pt x="106" y="46"/>
                  </a:lnTo>
                  <a:lnTo>
                    <a:pt x="106" y="68"/>
                  </a:lnTo>
                  <a:lnTo>
                    <a:pt x="106" y="68"/>
                  </a:lnTo>
                  <a:lnTo>
                    <a:pt x="108" y="70"/>
                  </a:lnTo>
                  <a:lnTo>
                    <a:pt x="110" y="80"/>
                  </a:lnTo>
                  <a:lnTo>
                    <a:pt x="108" y="92"/>
                  </a:lnTo>
                  <a:lnTo>
                    <a:pt x="106" y="98"/>
                  </a:lnTo>
                  <a:lnTo>
                    <a:pt x="104" y="104"/>
                  </a:lnTo>
                  <a:lnTo>
                    <a:pt x="156" y="144"/>
                  </a:lnTo>
                  <a:lnTo>
                    <a:pt x="156" y="144"/>
                  </a:lnTo>
                  <a:lnTo>
                    <a:pt x="144" y="156"/>
                  </a:lnTo>
                  <a:lnTo>
                    <a:pt x="134" y="166"/>
                  </a:lnTo>
                  <a:lnTo>
                    <a:pt x="134" y="166"/>
                  </a:lnTo>
                  <a:lnTo>
                    <a:pt x="114" y="144"/>
                  </a:lnTo>
                  <a:lnTo>
                    <a:pt x="96" y="124"/>
                  </a:lnTo>
                  <a:lnTo>
                    <a:pt x="94" y="120"/>
                  </a:lnTo>
                  <a:lnTo>
                    <a:pt x="94" y="120"/>
                  </a:lnTo>
                  <a:lnTo>
                    <a:pt x="80" y="142"/>
                  </a:lnTo>
                  <a:lnTo>
                    <a:pt x="80" y="142"/>
                  </a:lnTo>
                  <a:lnTo>
                    <a:pt x="64" y="154"/>
                  </a:lnTo>
                  <a:lnTo>
                    <a:pt x="50" y="162"/>
                  </a:lnTo>
                  <a:lnTo>
                    <a:pt x="42" y="166"/>
                  </a:lnTo>
                  <a:lnTo>
                    <a:pt x="34" y="166"/>
                  </a:lnTo>
                  <a:lnTo>
                    <a:pt x="34" y="166"/>
                  </a:lnTo>
                  <a:lnTo>
                    <a:pt x="30" y="168"/>
                  </a:lnTo>
                  <a:lnTo>
                    <a:pt x="22" y="174"/>
                  </a:lnTo>
                  <a:lnTo>
                    <a:pt x="18" y="180"/>
                  </a:lnTo>
                  <a:lnTo>
                    <a:pt x="16" y="188"/>
                  </a:lnTo>
                  <a:lnTo>
                    <a:pt x="14" y="198"/>
                  </a:lnTo>
                  <a:lnTo>
                    <a:pt x="14" y="212"/>
                  </a:lnTo>
                  <a:lnTo>
                    <a:pt x="14" y="212"/>
                  </a:lnTo>
                  <a:lnTo>
                    <a:pt x="14" y="228"/>
                  </a:lnTo>
                  <a:lnTo>
                    <a:pt x="10" y="246"/>
                  </a:lnTo>
                  <a:lnTo>
                    <a:pt x="4" y="268"/>
                  </a:lnTo>
                  <a:lnTo>
                    <a:pt x="4" y="268"/>
                  </a:lnTo>
                  <a:lnTo>
                    <a:pt x="4" y="270"/>
                  </a:lnTo>
                  <a:lnTo>
                    <a:pt x="2" y="286"/>
                  </a:lnTo>
                  <a:lnTo>
                    <a:pt x="2" y="286"/>
                  </a:lnTo>
                  <a:lnTo>
                    <a:pt x="2" y="286"/>
                  </a:lnTo>
                  <a:lnTo>
                    <a:pt x="2" y="286"/>
                  </a:lnTo>
                  <a:lnTo>
                    <a:pt x="0" y="330"/>
                  </a:lnTo>
                  <a:lnTo>
                    <a:pt x="0" y="352"/>
                  </a:lnTo>
                  <a:lnTo>
                    <a:pt x="2" y="372"/>
                  </a:lnTo>
                  <a:lnTo>
                    <a:pt x="2" y="372"/>
                  </a:lnTo>
                  <a:lnTo>
                    <a:pt x="6" y="384"/>
                  </a:lnTo>
                  <a:lnTo>
                    <a:pt x="10" y="396"/>
                  </a:lnTo>
                  <a:lnTo>
                    <a:pt x="22" y="418"/>
                  </a:lnTo>
                  <a:lnTo>
                    <a:pt x="34" y="440"/>
                  </a:lnTo>
                  <a:lnTo>
                    <a:pt x="44" y="462"/>
                  </a:lnTo>
                  <a:lnTo>
                    <a:pt x="44" y="462"/>
                  </a:lnTo>
                  <a:lnTo>
                    <a:pt x="46" y="462"/>
                  </a:lnTo>
                  <a:lnTo>
                    <a:pt x="46" y="462"/>
                  </a:lnTo>
                  <a:lnTo>
                    <a:pt x="50" y="474"/>
                  </a:lnTo>
                  <a:lnTo>
                    <a:pt x="50" y="474"/>
                  </a:lnTo>
                  <a:lnTo>
                    <a:pt x="52" y="482"/>
                  </a:lnTo>
                  <a:lnTo>
                    <a:pt x="56" y="492"/>
                  </a:lnTo>
                  <a:lnTo>
                    <a:pt x="64" y="506"/>
                  </a:lnTo>
                  <a:lnTo>
                    <a:pt x="64" y="506"/>
                  </a:lnTo>
                  <a:lnTo>
                    <a:pt x="66" y="528"/>
                  </a:lnTo>
                  <a:lnTo>
                    <a:pt x="66" y="542"/>
                  </a:lnTo>
                  <a:lnTo>
                    <a:pt x="66" y="550"/>
                  </a:lnTo>
                  <a:lnTo>
                    <a:pt x="66" y="550"/>
                  </a:lnTo>
                  <a:lnTo>
                    <a:pt x="76" y="550"/>
                  </a:lnTo>
                  <a:lnTo>
                    <a:pt x="84" y="550"/>
                  </a:lnTo>
                  <a:lnTo>
                    <a:pt x="88" y="550"/>
                  </a:lnTo>
                  <a:lnTo>
                    <a:pt x="88" y="550"/>
                  </a:lnTo>
                  <a:lnTo>
                    <a:pt x="86" y="554"/>
                  </a:lnTo>
                  <a:lnTo>
                    <a:pt x="82" y="566"/>
                  </a:lnTo>
                  <a:lnTo>
                    <a:pt x="78" y="582"/>
                  </a:lnTo>
                  <a:lnTo>
                    <a:pt x="78" y="590"/>
                  </a:lnTo>
                  <a:lnTo>
                    <a:pt x="80" y="600"/>
                  </a:lnTo>
                  <a:lnTo>
                    <a:pt x="80" y="600"/>
                  </a:lnTo>
                  <a:lnTo>
                    <a:pt x="82" y="620"/>
                  </a:lnTo>
                  <a:lnTo>
                    <a:pt x="84" y="648"/>
                  </a:lnTo>
                  <a:lnTo>
                    <a:pt x="84" y="688"/>
                  </a:lnTo>
                  <a:lnTo>
                    <a:pt x="84" y="688"/>
                  </a:lnTo>
                  <a:lnTo>
                    <a:pt x="82" y="708"/>
                  </a:lnTo>
                  <a:lnTo>
                    <a:pt x="78" y="726"/>
                  </a:lnTo>
                  <a:lnTo>
                    <a:pt x="72" y="754"/>
                  </a:lnTo>
                  <a:lnTo>
                    <a:pt x="70" y="768"/>
                  </a:lnTo>
                  <a:lnTo>
                    <a:pt x="68" y="784"/>
                  </a:lnTo>
                  <a:lnTo>
                    <a:pt x="68" y="806"/>
                  </a:lnTo>
                  <a:lnTo>
                    <a:pt x="68" y="832"/>
                  </a:lnTo>
                  <a:lnTo>
                    <a:pt x="68" y="832"/>
                  </a:lnTo>
                  <a:lnTo>
                    <a:pt x="72" y="880"/>
                  </a:lnTo>
                  <a:lnTo>
                    <a:pt x="76" y="912"/>
                  </a:lnTo>
                  <a:lnTo>
                    <a:pt x="78" y="934"/>
                  </a:lnTo>
                  <a:lnTo>
                    <a:pt x="78" y="950"/>
                  </a:lnTo>
                  <a:lnTo>
                    <a:pt x="78" y="950"/>
                  </a:lnTo>
                  <a:lnTo>
                    <a:pt x="76" y="962"/>
                  </a:lnTo>
                  <a:lnTo>
                    <a:pt x="76" y="970"/>
                  </a:lnTo>
                  <a:lnTo>
                    <a:pt x="76" y="976"/>
                  </a:lnTo>
                  <a:lnTo>
                    <a:pt x="76" y="976"/>
                  </a:lnTo>
                  <a:lnTo>
                    <a:pt x="76" y="998"/>
                  </a:lnTo>
                  <a:lnTo>
                    <a:pt x="98" y="1006"/>
                  </a:lnTo>
                  <a:lnTo>
                    <a:pt x="110" y="1006"/>
                  </a:lnTo>
                  <a:lnTo>
                    <a:pt x="110" y="1006"/>
                  </a:lnTo>
                  <a:lnTo>
                    <a:pt x="112" y="1010"/>
                  </a:lnTo>
                  <a:lnTo>
                    <a:pt x="120" y="1016"/>
                  </a:lnTo>
                  <a:lnTo>
                    <a:pt x="128" y="1020"/>
                  </a:lnTo>
                  <a:lnTo>
                    <a:pt x="136" y="1024"/>
                  </a:lnTo>
                  <a:lnTo>
                    <a:pt x="146" y="1026"/>
                  </a:lnTo>
                  <a:lnTo>
                    <a:pt x="160" y="1028"/>
                  </a:lnTo>
                  <a:lnTo>
                    <a:pt x="160" y="1028"/>
                  </a:lnTo>
                  <a:lnTo>
                    <a:pt x="186" y="1026"/>
                  </a:lnTo>
                  <a:lnTo>
                    <a:pt x="198" y="1024"/>
                  </a:lnTo>
                  <a:lnTo>
                    <a:pt x="202" y="1024"/>
                  </a:lnTo>
                  <a:lnTo>
                    <a:pt x="202" y="1022"/>
                  </a:lnTo>
                  <a:lnTo>
                    <a:pt x="202" y="1022"/>
                  </a:lnTo>
                  <a:lnTo>
                    <a:pt x="202" y="1018"/>
                  </a:lnTo>
                  <a:lnTo>
                    <a:pt x="200" y="1012"/>
                  </a:lnTo>
                  <a:lnTo>
                    <a:pt x="196" y="1006"/>
                  </a:lnTo>
                  <a:lnTo>
                    <a:pt x="196" y="1006"/>
                  </a:lnTo>
                  <a:lnTo>
                    <a:pt x="172" y="984"/>
                  </a:lnTo>
                  <a:lnTo>
                    <a:pt x="158" y="968"/>
                  </a:lnTo>
                  <a:lnTo>
                    <a:pt x="152" y="962"/>
                  </a:lnTo>
                  <a:lnTo>
                    <a:pt x="148" y="956"/>
                  </a:lnTo>
                  <a:lnTo>
                    <a:pt x="148" y="956"/>
                  </a:lnTo>
                  <a:lnTo>
                    <a:pt x="148" y="950"/>
                  </a:lnTo>
                  <a:lnTo>
                    <a:pt x="146" y="946"/>
                  </a:lnTo>
                  <a:lnTo>
                    <a:pt x="146" y="946"/>
                  </a:lnTo>
                  <a:lnTo>
                    <a:pt x="144" y="938"/>
                  </a:lnTo>
                  <a:lnTo>
                    <a:pt x="142" y="934"/>
                  </a:lnTo>
                  <a:lnTo>
                    <a:pt x="142" y="934"/>
                  </a:lnTo>
                  <a:lnTo>
                    <a:pt x="142" y="924"/>
                  </a:lnTo>
                  <a:lnTo>
                    <a:pt x="142" y="924"/>
                  </a:lnTo>
                  <a:lnTo>
                    <a:pt x="144" y="902"/>
                  </a:lnTo>
                  <a:lnTo>
                    <a:pt x="146" y="886"/>
                  </a:lnTo>
                  <a:lnTo>
                    <a:pt x="146" y="886"/>
                  </a:lnTo>
                  <a:lnTo>
                    <a:pt x="144" y="878"/>
                  </a:lnTo>
                  <a:lnTo>
                    <a:pt x="140" y="868"/>
                  </a:lnTo>
                  <a:lnTo>
                    <a:pt x="140" y="868"/>
                  </a:lnTo>
                  <a:lnTo>
                    <a:pt x="144" y="818"/>
                  </a:lnTo>
                  <a:lnTo>
                    <a:pt x="146" y="784"/>
                  </a:lnTo>
                  <a:lnTo>
                    <a:pt x="148" y="766"/>
                  </a:lnTo>
                  <a:lnTo>
                    <a:pt x="148" y="766"/>
                  </a:lnTo>
                  <a:lnTo>
                    <a:pt x="152" y="754"/>
                  </a:lnTo>
                  <a:lnTo>
                    <a:pt x="154" y="736"/>
                  </a:lnTo>
                  <a:lnTo>
                    <a:pt x="158" y="712"/>
                  </a:lnTo>
                  <a:lnTo>
                    <a:pt x="158" y="712"/>
                  </a:lnTo>
                  <a:lnTo>
                    <a:pt x="160" y="706"/>
                  </a:lnTo>
                  <a:lnTo>
                    <a:pt x="166" y="692"/>
                  </a:lnTo>
                  <a:lnTo>
                    <a:pt x="174" y="668"/>
                  </a:lnTo>
                  <a:lnTo>
                    <a:pt x="180" y="632"/>
                  </a:lnTo>
                  <a:lnTo>
                    <a:pt x="180" y="632"/>
                  </a:lnTo>
                  <a:lnTo>
                    <a:pt x="182" y="630"/>
                  </a:lnTo>
                  <a:lnTo>
                    <a:pt x="184" y="628"/>
                  </a:lnTo>
                  <a:lnTo>
                    <a:pt x="184" y="632"/>
                  </a:lnTo>
                  <a:lnTo>
                    <a:pt x="184" y="632"/>
                  </a:lnTo>
                  <a:lnTo>
                    <a:pt x="204" y="692"/>
                  </a:lnTo>
                  <a:lnTo>
                    <a:pt x="204" y="692"/>
                  </a:lnTo>
                  <a:lnTo>
                    <a:pt x="208" y="702"/>
                  </a:lnTo>
                  <a:lnTo>
                    <a:pt x="208" y="712"/>
                  </a:lnTo>
                  <a:lnTo>
                    <a:pt x="206" y="724"/>
                  </a:lnTo>
                  <a:lnTo>
                    <a:pt x="206" y="724"/>
                  </a:lnTo>
                  <a:lnTo>
                    <a:pt x="200" y="744"/>
                  </a:lnTo>
                  <a:lnTo>
                    <a:pt x="198" y="762"/>
                  </a:lnTo>
                  <a:lnTo>
                    <a:pt x="196" y="784"/>
                  </a:lnTo>
                  <a:lnTo>
                    <a:pt x="196" y="784"/>
                  </a:lnTo>
                  <a:lnTo>
                    <a:pt x="190" y="836"/>
                  </a:lnTo>
                  <a:lnTo>
                    <a:pt x="184" y="870"/>
                  </a:lnTo>
                  <a:lnTo>
                    <a:pt x="182" y="888"/>
                  </a:lnTo>
                  <a:lnTo>
                    <a:pt x="182" y="888"/>
                  </a:lnTo>
                  <a:lnTo>
                    <a:pt x="176" y="894"/>
                  </a:lnTo>
                  <a:lnTo>
                    <a:pt x="174" y="900"/>
                  </a:lnTo>
                  <a:lnTo>
                    <a:pt x="174" y="900"/>
                  </a:lnTo>
                  <a:lnTo>
                    <a:pt x="172" y="916"/>
                  </a:lnTo>
                  <a:lnTo>
                    <a:pt x="172" y="916"/>
                  </a:lnTo>
                  <a:lnTo>
                    <a:pt x="190" y="924"/>
                  </a:lnTo>
                  <a:lnTo>
                    <a:pt x="212" y="930"/>
                  </a:lnTo>
                  <a:lnTo>
                    <a:pt x="234" y="934"/>
                  </a:lnTo>
                  <a:lnTo>
                    <a:pt x="254" y="934"/>
                  </a:lnTo>
                  <a:lnTo>
                    <a:pt x="254" y="934"/>
                  </a:lnTo>
                  <a:lnTo>
                    <a:pt x="252" y="920"/>
                  </a:lnTo>
                  <a:lnTo>
                    <a:pt x="252" y="920"/>
                  </a:lnTo>
                  <a:lnTo>
                    <a:pt x="258" y="908"/>
                  </a:lnTo>
                  <a:lnTo>
                    <a:pt x="262" y="894"/>
                  </a:lnTo>
                  <a:lnTo>
                    <a:pt x="270" y="876"/>
                  </a:lnTo>
                  <a:lnTo>
                    <a:pt x="276" y="852"/>
                  </a:lnTo>
                  <a:lnTo>
                    <a:pt x="282" y="822"/>
                  </a:lnTo>
                  <a:lnTo>
                    <a:pt x="286" y="788"/>
                  </a:lnTo>
                  <a:lnTo>
                    <a:pt x="288" y="746"/>
                  </a:lnTo>
                  <a:lnTo>
                    <a:pt x="288" y="746"/>
                  </a:lnTo>
                  <a:lnTo>
                    <a:pt x="288" y="736"/>
                  </a:lnTo>
                  <a:lnTo>
                    <a:pt x="288" y="728"/>
                  </a:lnTo>
                  <a:lnTo>
                    <a:pt x="288" y="724"/>
                  </a:lnTo>
                  <a:lnTo>
                    <a:pt x="288" y="724"/>
                  </a:lnTo>
                  <a:lnTo>
                    <a:pt x="290" y="720"/>
                  </a:lnTo>
                  <a:lnTo>
                    <a:pt x="292" y="708"/>
                  </a:lnTo>
                  <a:lnTo>
                    <a:pt x="292" y="688"/>
                  </a:lnTo>
                  <a:lnTo>
                    <a:pt x="292" y="660"/>
                  </a:lnTo>
                  <a:lnTo>
                    <a:pt x="292" y="660"/>
                  </a:lnTo>
                  <a:lnTo>
                    <a:pt x="286" y="618"/>
                  </a:lnTo>
                  <a:lnTo>
                    <a:pt x="276" y="570"/>
                  </a:lnTo>
                  <a:lnTo>
                    <a:pt x="264" y="516"/>
                  </a:lnTo>
                  <a:lnTo>
                    <a:pt x="264" y="516"/>
                  </a:lnTo>
                  <a:lnTo>
                    <a:pt x="268" y="512"/>
                  </a:lnTo>
                  <a:lnTo>
                    <a:pt x="270" y="508"/>
                  </a:lnTo>
                  <a:lnTo>
                    <a:pt x="272" y="500"/>
                  </a:lnTo>
                  <a:lnTo>
                    <a:pt x="272" y="500"/>
                  </a:lnTo>
                  <a:lnTo>
                    <a:pt x="268" y="480"/>
                  </a:lnTo>
                  <a:lnTo>
                    <a:pt x="260" y="446"/>
                  </a:lnTo>
                  <a:lnTo>
                    <a:pt x="250" y="396"/>
                  </a:lnTo>
                  <a:lnTo>
                    <a:pt x="250" y="396"/>
                  </a:lnTo>
                  <a:lnTo>
                    <a:pt x="246" y="372"/>
                  </a:lnTo>
                  <a:lnTo>
                    <a:pt x="240" y="350"/>
                  </a:lnTo>
                  <a:lnTo>
                    <a:pt x="240" y="350"/>
                  </a:lnTo>
                  <a:lnTo>
                    <a:pt x="236" y="334"/>
                  </a:lnTo>
                  <a:lnTo>
                    <a:pt x="232" y="318"/>
                  </a:lnTo>
                  <a:lnTo>
                    <a:pt x="232" y="300"/>
                  </a:lnTo>
                  <a:lnTo>
                    <a:pt x="232" y="300"/>
                  </a:lnTo>
                  <a:lnTo>
                    <a:pt x="234" y="284"/>
                  </a:lnTo>
                  <a:lnTo>
                    <a:pt x="232" y="270"/>
                  </a:lnTo>
                  <a:lnTo>
                    <a:pt x="232" y="258"/>
                  </a:lnTo>
                  <a:lnTo>
                    <a:pt x="232" y="258"/>
                  </a:lnTo>
                  <a:lnTo>
                    <a:pt x="248" y="262"/>
                  </a:lnTo>
                  <a:lnTo>
                    <a:pt x="284" y="266"/>
                  </a:lnTo>
                  <a:lnTo>
                    <a:pt x="306" y="268"/>
                  </a:lnTo>
                  <a:lnTo>
                    <a:pt x="326" y="266"/>
                  </a:lnTo>
                  <a:lnTo>
                    <a:pt x="334" y="264"/>
                  </a:lnTo>
                  <a:lnTo>
                    <a:pt x="342" y="262"/>
                  </a:lnTo>
                  <a:lnTo>
                    <a:pt x="348" y="258"/>
                  </a:lnTo>
                  <a:lnTo>
                    <a:pt x="352" y="252"/>
                  </a:lnTo>
                  <a:lnTo>
                    <a:pt x="352" y="252"/>
                  </a:lnTo>
                  <a:lnTo>
                    <a:pt x="346" y="226"/>
                  </a:lnTo>
                  <a:lnTo>
                    <a:pt x="338" y="190"/>
                  </a:lnTo>
                  <a:lnTo>
                    <a:pt x="322" y="138"/>
                  </a:lnTo>
                  <a:lnTo>
                    <a:pt x="322" y="138"/>
                  </a:lnTo>
                  <a:close/>
                  <a:moveTo>
                    <a:pt x="234" y="102"/>
                  </a:moveTo>
                  <a:lnTo>
                    <a:pt x="234" y="102"/>
                  </a:lnTo>
                  <a:lnTo>
                    <a:pt x="232" y="102"/>
                  </a:lnTo>
                  <a:lnTo>
                    <a:pt x="226" y="100"/>
                  </a:lnTo>
                  <a:lnTo>
                    <a:pt x="226" y="100"/>
                  </a:lnTo>
                  <a:lnTo>
                    <a:pt x="222" y="96"/>
                  </a:lnTo>
                  <a:lnTo>
                    <a:pt x="218" y="90"/>
                  </a:lnTo>
                  <a:lnTo>
                    <a:pt x="218" y="90"/>
                  </a:lnTo>
                  <a:lnTo>
                    <a:pt x="212" y="88"/>
                  </a:lnTo>
                  <a:lnTo>
                    <a:pt x="212" y="88"/>
                  </a:lnTo>
                  <a:lnTo>
                    <a:pt x="216" y="84"/>
                  </a:lnTo>
                  <a:lnTo>
                    <a:pt x="218" y="82"/>
                  </a:lnTo>
                  <a:lnTo>
                    <a:pt x="218" y="82"/>
                  </a:lnTo>
                  <a:lnTo>
                    <a:pt x="226" y="82"/>
                  </a:lnTo>
                  <a:lnTo>
                    <a:pt x="226" y="82"/>
                  </a:lnTo>
                  <a:lnTo>
                    <a:pt x="228" y="84"/>
                  </a:lnTo>
                  <a:lnTo>
                    <a:pt x="228" y="86"/>
                  </a:lnTo>
                  <a:lnTo>
                    <a:pt x="228" y="90"/>
                  </a:lnTo>
                  <a:lnTo>
                    <a:pt x="228" y="90"/>
                  </a:lnTo>
                  <a:lnTo>
                    <a:pt x="228" y="92"/>
                  </a:lnTo>
                  <a:lnTo>
                    <a:pt x="230" y="94"/>
                  </a:lnTo>
                  <a:lnTo>
                    <a:pt x="232" y="96"/>
                  </a:lnTo>
                  <a:lnTo>
                    <a:pt x="232" y="96"/>
                  </a:lnTo>
                  <a:lnTo>
                    <a:pt x="234" y="96"/>
                  </a:lnTo>
                  <a:lnTo>
                    <a:pt x="234" y="96"/>
                  </a:lnTo>
                  <a:lnTo>
                    <a:pt x="236" y="96"/>
                  </a:lnTo>
                  <a:lnTo>
                    <a:pt x="236" y="98"/>
                  </a:lnTo>
                  <a:lnTo>
                    <a:pt x="234" y="102"/>
                  </a:lnTo>
                  <a:lnTo>
                    <a:pt x="234" y="102"/>
                  </a:lnTo>
                  <a:close/>
                  <a:moveTo>
                    <a:pt x="86" y="362"/>
                  </a:moveTo>
                  <a:lnTo>
                    <a:pt x="86" y="362"/>
                  </a:lnTo>
                  <a:lnTo>
                    <a:pt x="86" y="374"/>
                  </a:lnTo>
                  <a:lnTo>
                    <a:pt x="84" y="390"/>
                  </a:lnTo>
                  <a:lnTo>
                    <a:pt x="84" y="390"/>
                  </a:lnTo>
                  <a:lnTo>
                    <a:pt x="82" y="398"/>
                  </a:lnTo>
                  <a:lnTo>
                    <a:pt x="80" y="398"/>
                  </a:lnTo>
                  <a:lnTo>
                    <a:pt x="78" y="396"/>
                  </a:lnTo>
                  <a:lnTo>
                    <a:pt x="78" y="396"/>
                  </a:lnTo>
                  <a:lnTo>
                    <a:pt x="78" y="392"/>
                  </a:lnTo>
                  <a:lnTo>
                    <a:pt x="76" y="386"/>
                  </a:lnTo>
                  <a:lnTo>
                    <a:pt x="76" y="386"/>
                  </a:lnTo>
                  <a:lnTo>
                    <a:pt x="76" y="386"/>
                  </a:lnTo>
                  <a:lnTo>
                    <a:pt x="76" y="386"/>
                  </a:lnTo>
                  <a:lnTo>
                    <a:pt x="74" y="382"/>
                  </a:lnTo>
                  <a:lnTo>
                    <a:pt x="74" y="382"/>
                  </a:lnTo>
                  <a:lnTo>
                    <a:pt x="70" y="376"/>
                  </a:lnTo>
                  <a:lnTo>
                    <a:pt x="70" y="370"/>
                  </a:lnTo>
                  <a:lnTo>
                    <a:pt x="72" y="366"/>
                  </a:lnTo>
                  <a:lnTo>
                    <a:pt x="74" y="360"/>
                  </a:lnTo>
                  <a:lnTo>
                    <a:pt x="74" y="360"/>
                  </a:lnTo>
                  <a:lnTo>
                    <a:pt x="76" y="358"/>
                  </a:lnTo>
                  <a:lnTo>
                    <a:pt x="76" y="352"/>
                  </a:lnTo>
                  <a:lnTo>
                    <a:pt x="76" y="352"/>
                  </a:lnTo>
                  <a:lnTo>
                    <a:pt x="76" y="346"/>
                  </a:lnTo>
                  <a:lnTo>
                    <a:pt x="76" y="346"/>
                  </a:lnTo>
                  <a:lnTo>
                    <a:pt x="76" y="342"/>
                  </a:lnTo>
                  <a:lnTo>
                    <a:pt x="78" y="340"/>
                  </a:lnTo>
                  <a:lnTo>
                    <a:pt x="82" y="348"/>
                  </a:lnTo>
                  <a:lnTo>
                    <a:pt x="82" y="348"/>
                  </a:lnTo>
                  <a:lnTo>
                    <a:pt x="86" y="354"/>
                  </a:lnTo>
                  <a:lnTo>
                    <a:pt x="86" y="362"/>
                  </a:lnTo>
                  <a:lnTo>
                    <a:pt x="86" y="362"/>
                  </a:lnTo>
                  <a:close/>
                </a:path>
              </a:pathLst>
            </a:custGeom>
            <a:grpFill/>
            <a:ln w="9525">
              <a:noFill/>
              <a:round/>
              <a:headEnd/>
              <a:tailEnd/>
            </a:ln>
          </p:spPr>
          <p:txBody>
            <a:bodyPr>
              <a:prstTxWarp prst="textNoShape">
                <a:avLst/>
              </a:prstTxWarp>
            </a:bodyPr>
            <a:lstStyle/>
            <a:p>
              <a:endParaRPr lang="en-GB" dirty="0">
                <a:latin typeface="Garamond"/>
              </a:endParaRPr>
            </a:p>
          </p:txBody>
        </p:sp>
      </p:grpSp>
      <p:sp>
        <p:nvSpPr>
          <p:cNvPr id="50" name="Freeform 964"/>
          <p:cNvSpPr>
            <a:spLocks noEditPoints="1"/>
          </p:cNvSpPr>
          <p:nvPr>
            <p:custDataLst>
              <p:tags r:id="rId29"/>
            </p:custDataLst>
          </p:nvPr>
        </p:nvSpPr>
        <p:spPr bwMode="gray">
          <a:xfrm>
            <a:off x="6136494" y="4806773"/>
            <a:ext cx="374650" cy="844550"/>
          </a:xfrm>
          <a:custGeom>
            <a:avLst/>
            <a:gdLst/>
            <a:ahLst/>
            <a:cxnLst>
              <a:cxn ang="0">
                <a:pos x="224" y="124"/>
              </a:cxn>
              <a:cxn ang="0">
                <a:pos x="216" y="104"/>
              </a:cxn>
              <a:cxn ang="0">
                <a:pos x="198" y="48"/>
              </a:cxn>
              <a:cxn ang="0">
                <a:pos x="190" y="26"/>
              </a:cxn>
              <a:cxn ang="0">
                <a:pos x="164" y="32"/>
              </a:cxn>
              <a:cxn ang="0">
                <a:pos x="156" y="50"/>
              </a:cxn>
              <a:cxn ang="0">
                <a:pos x="160" y="62"/>
              </a:cxn>
              <a:cxn ang="0">
                <a:pos x="128" y="98"/>
              </a:cxn>
              <a:cxn ang="0">
                <a:pos x="82" y="78"/>
              </a:cxn>
              <a:cxn ang="0">
                <a:pos x="80" y="42"/>
              </a:cxn>
              <a:cxn ang="0">
                <a:pos x="76" y="20"/>
              </a:cxn>
              <a:cxn ang="0">
                <a:pos x="64" y="6"/>
              </a:cxn>
              <a:cxn ang="0">
                <a:pos x="40" y="4"/>
              </a:cxn>
              <a:cxn ang="0">
                <a:pos x="30" y="20"/>
              </a:cxn>
              <a:cxn ang="0">
                <a:pos x="32" y="54"/>
              </a:cxn>
              <a:cxn ang="0">
                <a:pos x="44" y="82"/>
              </a:cxn>
              <a:cxn ang="0">
                <a:pos x="24" y="96"/>
              </a:cxn>
              <a:cxn ang="0">
                <a:pos x="8" y="114"/>
              </a:cxn>
              <a:cxn ang="0">
                <a:pos x="8" y="176"/>
              </a:cxn>
              <a:cxn ang="0">
                <a:pos x="2" y="236"/>
              </a:cxn>
              <a:cxn ang="0">
                <a:pos x="14" y="284"/>
              </a:cxn>
              <a:cxn ang="0">
                <a:pos x="20" y="322"/>
              </a:cxn>
              <a:cxn ang="0">
                <a:pos x="36" y="444"/>
              </a:cxn>
              <a:cxn ang="0">
                <a:pos x="46" y="476"/>
              </a:cxn>
              <a:cxn ang="0">
                <a:pos x="52" y="458"/>
              </a:cxn>
              <a:cxn ang="0">
                <a:pos x="60" y="422"/>
              </a:cxn>
              <a:cxn ang="0">
                <a:pos x="56" y="330"/>
              </a:cxn>
              <a:cxn ang="0">
                <a:pos x="60" y="302"/>
              </a:cxn>
              <a:cxn ang="0">
                <a:pos x="68" y="402"/>
              </a:cxn>
              <a:cxn ang="0">
                <a:pos x="78" y="472"/>
              </a:cxn>
              <a:cxn ang="0">
                <a:pos x="76" y="488"/>
              </a:cxn>
              <a:cxn ang="0">
                <a:pos x="86" y="508"/>
              </a:cxn>
              <a:cxn ang="0">
                <a:pos x="98" y="530"/>
              </a:cxn>
              <a:cxn ang="0">
                <a:pos x="106" y="490"/>
              </a:cxn>
              <a:cxn ang="0">
                <a:pos x="108" y="398"/>
              </a:cxn>
              <a:cxn ang="0">
                <a:pos x="108" y="288"/>
              </a:cxn>
              <a:cxn ang="0">
                <a:pos x="110" y="254"/>
              </a:cxn>
              <a:cxn ang="0">
                <a:pos x="126" y="264"/>
              </a:cxn>
              <a:cxn ang="0">
                <a:pos x="122" y="368"/>
              </a:cxn>
              <a:cxn ang="0">
                <a:pos x="112" y="436"/>
              </a:cxn>
              <a:cxn ang="0">
                <a:pos x="120" y="478"/>
              </a:cxn>
              <a:cxn ang="0">
                <a:pos x="138" y="482"/>
              </a:cxn>
              <a:cxn ang="0">
                <a:pos x="138" y="448"/>
              </a:cxn>
              <a:cxn ang="0">
                <a:pos x="160" y="346"/>
              </a:cxn>
              <a:cxn ang="0">
                <a:pos x="172" y="334"/>
              </a:cxn>
              <a:cxn ang="0">
                <a:pos x="166" y="406"/>
              </a:cxn>
              <a:cxn ang="0">
                <a:pos x="172" y="444"/>
              </a:cxn>
              <a:cxn ang="0">
                <a:pos x="188" y="458"/>
              </a:cxn>
              <a:cxn ang="0">
                <a:pos x="202" y="444"/>
              </a:cxn>
              <a:cxn ang="0">
                <a:pos x="198" y="408"/>
              </a:cxn>
              <a:cxn ang="0">
                <a:pos x="218" y="302"/>
              </a:cxn>
              <a:cxn ang="0">
                <a:pos x="234" y="220"/>
              </a:cxn>
              <a:cxn ang="0">
                <a:pos x="26" y="94"/>
              </a:cxn>
            </a:cxnLst>
            <a:rect l="0" t="0" r="r" b="b"/>
            <a:pathLst>
              <a:path w="236" h="532">
                <a:moveTo>
                  <a:pt x="234" y="220"/>
                </a:moveTo>
                <a:lnTo>
                  <a:pt x="234" y="192"/>
                </a:lnTo>
                <a:lnTo>
                  <a:pt x="230" y="174"/>
                </a:lnTo>
                <a:lnTo>
                  <a:pt x="228" y="150"/>
                </a:lnTo>
                <a:lnTo>
                  <a:pt x="224" y="124"/>
                </a:lnTo>
                <a:lnTo>
                  <a:pt x="224" y="110"/>
                </a:lnTo>
                <a:lnTo>
                  <a:pt x="224" y="110"/>
                </a:lnTo>
                <a:lnTo>
                  <a:pt x="222" y="108"/>
                </a:lnTo>
                <a:lnTo>
                  <a:pt x="220" y="106"/>
                </a:lnTo>
                <a:lnTo>
                  <a:pt x="216" y="104"/>
                </a:lnTo>
                <a:lnTo>
                  <a:pt x="188" y="90"/>
                </a:lnTo>
                <a:lnTo>
                  <a:pt x="186" y="82"/>
                </a:lnTo>
                <a:lnTo>
                  <a:pt x="192" y="78"/>
                </a:lnTo>
                <a:lnTo>
                  <a:pt x="196" y="68"/>
                </a:lnTo>
                <a:lnTo>
                  <a:pt x="198" y="48"/>
                </a:lnTo>
                <a:lnTo>
                  <a:pt x="198" y="38"/>
                </a:lnTo>
                <a:lnTo>
                  <a:pt x="198" y="38"/>
                </a:lnTo>
                <a:lnTo>
                  <a:pt x="196" y="34"/>
                </a:lnTo>
                <a:lnTo>
                  <a:pt x="194" y="30"/>
                </a:lnTo>
                <a:lnTo>
                  <a:pt x="190" y="26"/>
                </a:lnTo>
                <a:lnTo>
                  <a:pt x="186" y="22"/>
                </a:lnTo>
                <a:lnTo>
                  <a:pt x="180" y="22"/>
                </a:lnTo>
                <a:lnTo>
                  <a:pt x="172" y="24"/>
                </a:lnTo>
                <a:lnTo>
                  <a:pt x="164" y="32"/>
                </a:lnTo>
                <a:lnTo>
                  <a:pt x="164" y="32"/>
                </a:lnTo>
                <a:lnTo>
                  <a:pt x="162" y="36"/>
                </a:lnTo>
                <a:lnTo>
                  <a:pt x="160" y="46"/>
                </a:lnTo>
                <a:lnTo>
                  <a:pt x="160" y="46"/>
                </a:lnTo>
                <a:lnTo>
                  <a:pt x="158" y="48"/>
                </a:lnTo>
                <a:lnTo>
                  <a:pt x="156" y="50"/>
                </a:lnTo>
                <a:lnTo>
                  <a:pt x="156" y="54"/>
                </a:lnTo>
                <a:lnTo>
                  <a:pt x="156" y="54"/>
                </a:lnTo>
                <a:lnTo>
                  <a:pt x="156" y="60"/>
                </a:lnTo>
                <a:lnTo>
                  <a:pt x="158" y="62"/>
                </a:lnTo>
                <a:lnTo>
                  <a:pt x="160" y="62"/>
                </a:lnTo>
                <a:lnTo>
                  <a:pt x="160" y="74"/>
                </a:lnTo>
                <a:lnTo>
                  <a:pt x="158" y="80"/>
                </a:lnTo>
                <a:lnTo>
                  <a:pt x="154" y="84"/>
                </a:lnTo>
                <a:lnTo>
                  <a:pt x="146" y="90"/>
                </a:lnTo>
                <a:lnTo>
                  <a:pt x="128" y="98"/>
                </a:lnTo>
                <a:lnTo>
                  <a:pt x="128" y="98"/>
                </a:lnTo>
                <a:lnTo>
                  <a:pt x="110" y="88"/>
                </a:lnTo>
                <a:lnTo>
                  <a:pt x="94" y="80"/>
                </a:lnTo>
                <a:lnTo>
                  <a:pt x="88" y="78"/>
                </a:lnTo>
                <a:lnTo>
                  <a:pt x="82" y="78"/>
                </a:lnTo>
                <a:lnTo>
                  <a:pt x="80" y="70"/>
                </a:lnTo>
                <a:lnTo>
                  <a:pt x="78" y="68"/>
                </a:lnTo>
                <a:lnTo>
                  <a:pt x="78" y="50"/>
                </a:lnTo>
                <a:lnTo>
                  <a:pt x="78" y="50"/>
                </a:lnTo>
                <a:lnTo>
                  <a:pt x="80" y="42"/>
                </a:lnTo>
                <a:lnTo>
                  <a:pt x="80" y="36"/>
                </a:lnTo>
                <a:lnTo>
                  <a:pt x="80" y="32"/>
                </a:lnTo>
                <a:lnTo>
                  <a:pt x="78" y="32"/>
                </a:lnTo>
                <a:lnTo>
                  <a:pt x="76" y="20"/>
                </a:lnTo>
                <a:lnTo>
                  <a:pt x="76" y="20"/>
                </a:lnTo>
                <a:lnTo>
                  <a:pt x="72" y="12"/>
                </a:lnTo>
                <a:lnTo>
                  <a:pt x="70" y="8"/>
                </a:lnTo>
                <a:lnTo>
                  <a:pt x="66" y="6"/>
                </a:lnTo>
                <a:lnTo>
                  <a:pt x="64" y="6"/>
                </a:lnTo>
                <a:lnTo>
                  <a:pt x="64" y="6"/>
                </a:lnTo>
                <a:lnTo>
                  <a:pt x="62" y="4"/>
                </a:lnTo>
                <a:lnTo>
                  <a:pt x="56" y="2"/>
                </a:lnTo>
                <a:lnTo>
                  <a:pt x="50" y="0"/>
                </a:lnTo>
                <a:lnTo>
                  <a:pt x="44" y="2"/>
                </a:lnTo>
                <a:lnTo>
                  <a:pt x="40" y="4"/>
                </a:lnTo>
                <a:lnTo>
                  <a:pt x="40" y="4"/>
                </a:lnTo>
                <a:lnTo>
                  <a:pt x="34" y="10"/>
                </a:lnTo>
                <a:lnTo>
                  <a:pt x="32" y="16"/>
                </a:lnTo>
                <a:lnTo>
                  <a:pt x="30" y="20"/>
                </a:lnTo>
                <a:lnTo>
                  <a:pt x="30" y="20"/>
                </a:lnTo>
                <a:lnTo>
                  <a:pt x="30" y="26"/>
                </a:lnTo>
                <a:lnTo>
                  <a:pt x="30" y="40"/>
                </a:lnTo>
                <a:lnTo>
                  <a:pt x="30" y="40"/>
                </a:lnTo>
                <a:lnTo>
                  <a:pt x="30" y="48"/>
                </a:lnTo>
                <a:lnTo>
                  <a:pt x="32" y="54"/>
                </a:lnTo>
                <a:lnTo>
                  <a:pt x="36" y="58"/>
                </a:lnTo>
                <a:lnTo>
                  <a:pt x="36" y="58"/>
                </a:lnTo>
                <a:lnTo>
                  <a:pt x="38" y="62"/>
                </a:lnTo>
                <a:lnTo>
                  <a:pt x="42" y="70"/>
                </a:lnTo>
                <a:lnTo>
                  <a:pt x="44" y="82"/>
                </a:lnTo>
                <a:lnTo>
                  <a:pt x="42" y="88"/>
                </a:lnTo>
                <a:lnTo>
                  <a:pt x="26" y="94"/>
                </a:lnTo>
                <a:lnTo>
                  <a:pt x="24" y="96"/>
                </a:lnTo>
                <a:lnTo>
                  <a:pt x="24" y="96"/>
                </a:lnTo>
                <a:lnTo>
                  <a:pt x="24" y="96"/>
                </a:lnTo>
                <a:lnTo>
                  <a:pt x="24" y="96"/>
                </a:lnTo>
                <a:lnTo>
                  <a:pt x="18" y="102"/>
                </a:lnTo>
                <a:lnTo>
                  <a:pt x="12" y="108"/>
                </a:lnTo>
                <a:lnTo>
                  <a:pt x="12" y="108"/>
                </a:lnTo>
                <a:lnTo>
                  <a:pt x="8" y="114"/>
                </a:lnTo>
                <a:lnTo>
                  <a:pt x="8" y="118"/>
                </a:lnTo>
                <a:lnTo>
                  <a:pt x="8" y="130"/>
                </a:lnTo>
                <a:lnTo>
                  <a:pt x="8" y="130"/>
                </a:lnTo>
                <a:lnTo>
                  <a:pt x="10" y="154"/>
                </a:lnTo>
                <a:lnTo>
                  <a:pt x="8" y="176"/>
                </a:lnTo>
                <a:lnTo>
                  <a:pt x="8" y="176"/>
                </a:lnTo>
                <a:lnTo>
                  <a:pt x="2" y="214"/>
                </a:lnTo>
                <a:lnTo>
                  <a:pt x="2" y="214"/>
                </a:lnTo>
                <a:lnTo>
                  <a:pt x="0" y="228"/>
                </a:lnTo>
                <a:lnTo>
                  <a:pt x="2" y="236"/>
                </a:lnTo>
                <a:lnTo>
                  <a:pt x="6" y="242"/>
                </a:lnTo>
                <a:lnTo>
                  <a:pt x="6" y="242"/>
                </a:lnTo>
                <a:lnTo>
                  <a:pt x="12" y="252"/>
                </a:lnTo>
                <a:lnTo>
                  <a:pt x="14" y="262"/>
                </a:lnTo>
                <a:lnTo>
                  <a:pt x="14" y="284"/>
                </a:lnTo>
                <a:lnTo>
                  <a:pt x="14" y="284"/>
                </a:lnTo>
                <a:lnTo>
                  <a:pt x="18" y="302"/>
                </a:lnTo>
                <a:lnTo>
                  <a:pt x="20" y="312"/>
                </a:lnTo>
                <a:lnTo>
                  <a:pt x="20" y="322"/>
                </a:lnTo>
                <a:lnTo>
                  <a:pt x="20" y="322"/>
                </a:lnTo>
                <a:lnTo>
                  <a:pt x="18" y="328"/>
                </a:lnTo>
                <a:lnTo>
                  <a:pt x="22" y="354"/>
                </a:lnTo>
                <a:lnTo>
                  <a:pt x="26" y="378"/>
                </a:lnTo>
                <a:lnTo>
                  <a:pt x="26" y="414"/>
                </a:lnTo>
                <a:lnTo>
                  <a:pt x="36" y="444"/>
                </a:lnTo>
                <a:lnTo>
                  <a:pt x="30" y="458"/>
                </a:lnTo>
                <a:lnTo>
                  <a:pt x="24" y="466"/>
                </a:lnTo>
                <a:lnTo>
                  <a:pt x="24" y="482"/>
                </a:lnTo>
                <a:lnTo>
                  <a:pt x="38" y="484"/>
                </a:lnTo>
                <a:lnTo>
                  <a:pt x="46" y="476"/>
                </a:lnTo>
                <a:lnTo>
                  <a:pt x="46" y="476"/>
                </a:lnTo>
                <a:lnTo>
                  <a:pt x="50" y="474"/>
                </a:lnTo>
                <a:lnTo>
                  <a:pt x="52" y="470"/>
                </a:lnTo>
                <a:lnTo>
                  <a:pt x="52" y="464"/>
                </a:lnTo>
                <a:lnTo>
                  <a:pt x="52" y="458"/>
                </a:lnTo>
                <a:lnTo>
                  <a:pt x="54" y="458"/>
                </a:lnTo>
                <a:lnTo>
                  <a:pt x="60" y="452"/>
                </a:lnTo>
                <a:lnTo>
                  <a:pt x="62" y="444"/>
                </a:lnTo>
                <a:lnTo>
                  <a:pt x="58" y="436"/>
                </a:lnTo>
                <a:lnTo>
                  <a:pt x="60" y="422"/>
                </a:lnTo>
                <a:lnTo>
                  <a:pt x="60" y="412"/>
                </a:lnTo>
                <a:lnTo>
                  <a:pt x="54" y="398"/>
                </a:lnTo>
                <a:lnTo>
                  <a:pt x="54" y="378"/>
                </a:lnTo>
                <a:lnTo>
                  <a:pt x="54" y="352"/>
                </a:lnTo>
                <a:lnTo>
                  <a:pt x="56" y="330"/>
                </a:lnTo>
                <a:lnTo>
                  <a:pt x="56" y="310"/>
                </a:lnTo>
                <a:lnTo>
                  <a:pt x="58" y="302"/>
                </a:lnTo>
                <a:lnTo>
                  <a:pt x="60" y="298"/>
                </a:lnTo>
                <a:lnTo>
                  <a:pt x="60" y="302"/>
                </a:lnTo>
                <a:lnTo>
                  <a:pt x="60" y="302"/>
                </a:lnTo>
                <a:lnTo>
                  <a:pt x="68" y="328"/>
                </a:lnTo>
                <a:lnTo>
                  <a:pt x="68" y="328"/>
                </a:lnTo>
                <a:lnTo>
                  <a:pt x="70" y="342"/>
                </a:lnTo>
                <a:lnTo>
                  <a:pt x="68" y="346"/>
                </a:lnTo>
                <a:lnTo>
                  <a:pt x="68" y="402"/>
                </a:lnTo>
                <a:lnTo>
                  <a:pt x="70" y="426"/>
                </a:lnTo>
                <a:lnTo>
                  <a:pt x="74" y="456"/>
                </a:lnTo>
                <a:lnTo>
                  <a:pt x="76" y="468"/>
                </a:lnTo>
                <a:lnTo>
                  <a:pt x="76" y="468"/>
                </a:lnTo>
                <a:lnTo>
                  <a:pt x="78" y="472"/>
                </a:lnTo>
                <a:lnTo>
                  <a:pt x="78" y="476"/>
                </a:lnTo>
                <a:lnTo>
                  <a:pt x="78" y="478"/>
                </a:lnTo>
                <a:lnTo>
                  <a:pt x="78" y="478"/>
                </a:lnTo>
                <a:lnTo>
                  <a:pt x="76" y="484"/>
                </a:lnTo>
                <a:lnTo>
                  <a:pt x="76" y="488"/>
                </a:lnTo>
                <a:lnTo>
                  <a:pt x="76" y="490"/>
                </a:lnTo>
                <a:lnTo>
                  <a:pt x="82" y="500"/>
                </a:lnTo>
                <a:lnTo>
                  <a:pt x="86" y="498"/>
                </a:lnTo>
                <a:lnTo>
                  <a:pt x="86" y="508"/>
                </a:lnTo>
                <a:lnTo>
                  <a:pt x="86" y="508"/>
                </a:lnTo>
                <a:lnTo>
                  <a:pt x="86" y="512"/>
                </a:lnTo>
                <a:lnTo>
                  <a:pt x="88" y="518"/>
                </a:lnTo>
                <a:lnTo>
                  <a:pt x="92" y="524"/>
                </a:lnTo>
                <a:lnTo>
                  <a:pt x="92" y="524"/>
                </a:lnTo>
                <a:lnTo>
                  <a:pt x="98" y="530"/>
                </a:lnTo>
                <a:lnTo>
                  <a:pt x="102" y="532"/>
                </a:lnTo>
                <a:lnTo>
                  <a:pt x="118" y="530"/>
                </a:lnTo>
                <a:lnTo>
                  <a:pt x="118" y="512"/>
                </a:lnTo>
                <a:lnTo>
                  <a:pt x="114" y="508"/>
                </a:lnTo>
                <a:lnTo>
                  <a:pt x="106" y="490"/>
                </a:lnTo>
                <a:lnTo>
                  <a:pt x="104" y="482"/>
                </a:lnTo>
                <a:lnTo>
                  <a:pt x="106" y="470"/>
                </a:lnTo>
                <a:lnTo>
                  <a:pt x="108" y="448"/>
                </a:lnTo>
                <a:lnTo>
                  <a:pt x="110" y="422"/>
                </a:lnTo>
                <a:lnTo>
                  <a:pt x="108" y="398"/>
                </a:lnTo>
                <a:lnTo>
                  <a:pt x="106" y="376"/>
                </a:lnTo>
                <a:lnTo>
                  <a:pt x="106" y="348"/>
                </a:lnTo>
                <a:lnTo>
                  <a:pt x="106" y="334"/>
                </a:lnTo>
                <a:lnTo>
                  <a:pt x="108" y="320"/>
                </a:lnTo>
                <a:lnTo>
                  <a:pt x="108" y="288"/>
                </a:lnTo>
                <a:lnTo>
                  <a:pt x="106" y="272"/>
                </a:lnTo>
                <a:lnTo>
                  <a:pt x="104" y="258"/>
                </a:lnTo>
                <a:lnTo>
                  <a:pt x="104" y="256"/>
                </a:lnTo>
                <a:lnTo>
                  <a:pt x="106" y="252"/>
                </a:lnTo>
                <a:lnTo>
                  <a:pt x="110" y="254"/>
                </a:lnTo>
                <a:lnTo>
                  <a:pt x="112" y="250"/>
                </a:lnTo>
                <a:lnTo>
                  <a:pt x="116" y="246"/>
                </a:lnTo>
                <a:lnTo>
                  <a:pt x="124" y="258"/>
                </a:lnTo>
                <a:lnTo>
                  <a:pt x="126" y="258"/>
                </a:lnTo>
                <a:lnTo>
                  <a:pt x="126" y="264"/>
                </a:lnTo>
                <a:lnTo>
                  <a:pt x="128" y="274"/>
                </a:lnTo>
                <a:lnTo>
                  <a:pt x="128" y="324"/>
                </a:lnTo>
                <a:lnTo>
                  <a:pt x="124" y="338"/>
                </a:lnTo>
                <a:lnTo>
                  <a:pt x="122" y="350"/>
                </a:lnTo>
                <a:lnTo>
                  <a:pt x="122" y="368"/>
                </a:lnTo>
                <a:lnTo>
                  <a:pt x="116" y="388"/>
                </a:lnTo>
                <a:lnTo>
                  <a:pt x="114" y="402"/>
                </a:lnTo>
                <a:lnTo>
                  <a:pt x="112" y="424"/>
                </a:lnTo>
                <a:lnTo>
                  <a:pt x="116" y="430"/>
                </a:lnTo>
                <a:lnTo>
                  <a:pt x="112" y="436"/>
                </a:lnTo>
                <a:lnTo>
                  <a:pt x="118" y="444"/>
                </a:lnTo>
                <a:lnTo>
                  <a:pt x="118" y="470"/>
                </a:lnTo>
                <a:lnTo>
                  <a:pt x="118" y="470"/>
                </a:lnTo>
                <a:lnTo>
                  <a:pt x="118" y="472"/>
                </a:lnTo>
                <a:lnTo>
                  <a:pt x="120" y="478"/>
                </a:lnTo>
                <a:lnTo>
                  <a:pt x="124" y="482"/>
                </a:lnTo>
                <a:lnTo>
                  <a:pt x="130" y="482"/>
                </a:lnTo>
                <a:lnTo>
                  <a:pt x="134" y="482"/>
                </a:lnTo>
                <a:lnTo>
                  <a:pt x="134" y="482"/>
                </a:lnTo>
                <a:lnTo>
                  <a:pt x="138" y="482"/>
                </a:lnTo>
                <a:lnTo>
                  <a:pt x="142" y="480"/>
                </a:lnTo>
                <a:lnTo>
                  <a:pt x="144" y="474"/>
                </a:lnTo>
                <a:lnTo>
                  <a:pt x="144" y="464"/>
                </a:lnTo>
                <a:lnTo>
                  <a:pt x="140" y="456"/>
                </a:lnTo>
                <a:lnTo>
                  <a:pt x="138" y="448"/>
                </a:lnTo>
                <a:lnTo>
                  <a:pt x="142" y="436"/>
                </a:lnTo>
                <a:lnTo>
                  <a:pt x="142" y="430"/>
                </a:lnTo>
                <a:lnTo>
                  <a:pt x="148" y="418"/>
                </a:lnTo>
                <a:lnTo>
                  <a:pt x="154" y="384"/>
                </a:lnTo>
                <a:lnTo>
                  <a:pt x="160" y="346"/>
                </a:lnTo>
                <a:lnTo>
                  <a:pt x="166" y="322"/>
                </a:lnTo>
                <a:lnTo>
                  <a:pt x="170" y="304"/>
                </a:lnTo>
                <a:lnTo>
                  <a:pt x="172" y="308"/>
                </a:lnTo>
                <a:lnTo>
                  <a:pt x="172" y="326"/>
                </a:lnTo>
                <a:lnTo>
                  <a:pt x="172" y="334"/>
                </a:lnTo>
                <a:lnTo>
                  <a:pt x="170" y="346"/>
                </a:lnTo>
                <a:lnTo>
                  <a:pt x="170" y="354"/>
                </a:lnTo>
                <a:lnTo>
                  <a:pt x="170" y="368"/>
                </a:lnTo>
                <a:lnTo>
                  <a:pt x="168" y="388"/>
                </a:lnTo>
                <a:lnTo>
                  <a:pt x="166" y="406"/>
                </a:lnTo>
                <a:lnTo>
                  <a:pt x="164" y="410"/>
                </a:lnTo>
                <a:lnTo>
                  <a:pt x="162" y="418"/>
                </a:lnTo>
                <a:lnTo>
                  <a:pt x="166" y="426"/>
                </a:lnTo>
                <a:lnTo>
                  <a:pt x="166" y="440"/>
                </a:lnTo>
                <a:lnTo>
                  <a:pt x="172" y="444"/>
                </a:lnTo>
                <a:lnTo>
                  <a:pt x="176" y="444"/>
                </a:lnTo>
                <a:lnTo>
                  <a:pt x="182" y="452"/>
                </a:lnTo>
                <a:lnTo>
                  <a:pt x="182" y="452"/>
                </a:lnTo>
                <a:lnTo>
                  <a:pt x="184" y="456"/>
                </a:lnTo>
                <a:lnTo>
                  <a:pt x="188" y="458"/>
                </a:lnTo>
                <a:lnTo>
                  <a:pt x="192" y="460"/>
                </a:lnTo>
                <a:lnTo>
                  <a:pt x="200" y="462"/>
                </a:lnTo>
                <a:lnTo>
                  <a:pt x="208" y="458"/>
                </a:lnTo>
                <a:lnTo>
                  <a:pt x="210" y="452"/>
                </a:lnTo>
                <a:lnTo>
                  <a:pt x="202" y="444"/>
                </a:lnTo>
                <a:lnTo>
                  <a:pt x="196" y="436"/>
                </a:lnTo>
                <a:lnTo>
                  <a:pt x="192" y="428"/>
                </a:lnTo>
                <a:lnTo>
                  <a:pt x="192" y="420"/>
                </a:lnTo>
                <a:lnTo>
                  <a:pt x="198" y="416"/>
                </a:lnTo>
                <a:lnTo>
                  <a:pt x="198" y="408"/>
                </a:lnTo>
                <a:lnTo>
                  <a:pt x="200" y="392"/>
                </a:lnTo>
                <a:lnTo>
                  <a:pt x="204" y="378"/>
                </a:lnTo>
                <a:lnTo>
                  <a:pt x="206" y="356"/>
                </a:lnTo>
                <a:lnTo>
                  <a:pt x="212" y="328"/>
                </a:lnTo>
                <a:lnTo>
                  <a:pt x="218" y="302"/>
                </a:lnTo>
                <a:lnTo>
                  <a:pt x="224" y="276"/>
                </a:lnTo>
                <a:lnTo>
                  <a:pt x="224" y="270"/>
                </a:lnTo>
                <a:lnTo>
                  <a:pt x="234" y="256"/>
                </a:lnTo>
                <a:lnTo>
                  <a:pt x="236" y="240"/>
                </a:lnTo>
                <a:lnTo>
                  <a:pt x="234" y="220"/>
                </a:lnTo>
                <a:close/>
                <a:moveTo>
                  <a:pt x="24" y="96"/>
                </a:moveTo>
                <a:lnTo>
                  <a:pt x="24" y="96"/>
                </a:lnTo>
                <a:lnTo>
                  <a:pt x="24" y="96"/>
                </a:lnTo>
                <a:lnTo>
                  <a:pt x="24" y="96"/>
                </a:lnTo>
                <a:lnTo>
                  <a:pt x="26" y="94"/>
                </a:lnTo>
                <a:lnTo>
                  <a:pt x="24" y="96"/>
                </a:lnTo>
                <a:close/>
              </a:path>
            </a:pathLst>
          </a:custGeom>
          <a:solidFill>
            <a:schemeClr val="tx2"/>
          </a:solidFill>
          <a:ln w="9525">
            <a:noFill/>
            <a:round/>
            <a:headEnd/>
            <a:tailEnd/>
          </a:ln>
        </p:spPr>
        <p:txBody>
          <a:bodyPr lIns="91424" tIns="45712" rIns="91424" bIns="45712">
            <a:prstTxWarp prst="textNoShape">
              <a:avLst/>
            </a:prstTxWarp>
          </a:bodyPr>
          <a:lstStyle/>
          <a:p>
            <a:endParaRPr lang="en-GB" dirty="0">
              <a:latin typeface="Garamond"/>
            </a:endParaRPr>
          </a:p>
        </p:txBody>
      </p:sp>
      <p:grpSp>
        <p:nvGrpSpPr>
          <p:cNvPr id="9" name="Group 1881"/>
          <p:cNvGrpSpPr>
            <a:grpSpLocks/>
          </p:cNvGrpSpPr>
          <p:nvPr>
            <p:custDataLst>
              <p:tags r:id="rId30"/>
            </p:custDataLst>
          </p:nvPr>
        </p:nvGrpSpPr>
        <p:grpSpPr bwMode="gray">
          <a:xfrm>
            <a:off x="5267031" y="4730573"/>
            <a:ext cx="352425" cy="971550"/>
            <a:chOff x="2828" y="2914"/>
            <a:chExt cx="222" cy="612"/>
          </a:xfrm>
          <a:solidFill>
            <a:schemeClr val="tx2"/>
          </a:solidFill>
        </p:grpSpPr>
        <p:sp>
          <p:nvSpPr>
            <p:cNvPr id="102" name="Freeform 1878"/>
            <p:cNvSpPr>
              <a:spLocks noEditPoints="1"/>
            </p:cNvSpPr>
            <p:nvPr/>
          </p:nvSpPr>
          <p:spPr bwMode="gray">
            <a:xfrm>
              <a:off x="2828" y="2914"/>
              <a:ext cx="222" cy="612"/>
            </a:xfrm>
            <a:custGeom>
              <a:avLst/>
              <a:gdLst/>
              <a:ahLst/>
              <a:cxnLst>
                <a:cxn ang="0">
                  <a:pos x="10" y="216"/>
                </a:cxn>
                <a:cxn ang="0">
                  <a:pos x="20" y="232"/>
                </a:cxn>
                <a:cxn ang="0">
                  <a:pos x="22" y="236"/>
                </a:cxn>
                <a:cxn ang="0">
                  <a:pos x="44" y="258"/>
                </a:cxn>
                <a:cxn ang="0">
                  <a:pos x="60" y="270"/>
                </a:cxn>
                <a:cxn ang="0">
                  <a:pos x="64" y="308"/>
                </a:cxn>
                <a:cxn ang="0">
                  <a:pos x="64" y="400"/>
                </a:cxn>
                <a:cxn ang="0">
                  <a:pos x="64" y="452"/>
                </a:cxn>
                <a:cxn ang="0">
                  <a:pos x="74" y="558"/>
                </a:cxn>
                <a:cxn ang="0">
                  <a:pos x="68" y="608"/>
                </a:cxn>
                <a:cxn ang="0">
                  <a:pos x="94" y="608"/>
                </a:cxn>
                <a:cxn ang="0">
                  <a:pos x="96" y="570"/>
                </a:cxn>
                <a:cxn ang="0">
                  <a:pos x="94" y="516"/>
                </a:cxn>
                <a:cxn ang="0">
                  <a:pos x="100" y="436"/>
                </a:cxn>
                <a:cxn ang="0">
                  <a:pos x="136" y="470"/>
                </a:cxn>
                <a:cxn ang="0">
                  <a:pos x="144" y="546"/>
                </a:cxn>
                <a:cxn ang="0">
                  <a:pos x="138" y="558"/>
                </a:cxn>
                <a:cxn ang="0">
                  <a:pos x="150" y="592"/>
                </a:cxn>
                <a:cxn ang="0">
                  <a:pos x="154" y="600"/>
                </a:cxn>
                <a:cxn ang="0">
                  <a:pos x="184" y="606"/>
                </a:cxn>
                <a:cxn ang="0">
                  <a:pos x="178" y="588"/>
                </a:cxn>
                <a:cxn ang="0">
                  <a:pos x="164" y="532"/>
                </a:cxn>
                <a:cxn ang="0">
                  <a:pos x="172" y="430"/>
                </a:cxn>
                <a:cxn ang="0">
                  <a:pos x="182" y="420"/>
                </a:cxn>
                <a:cxn ang="0">
                  <a:pos x="146" y="238"/>
                </a:cxn>
                <a:cxn ang="0">
                  <a:pos x="200" y="310"/>
                </a:cxn>
                <a:cxn ang="0">
                  <a:pos x="198" y="312"/>
                </a:cxn>
                <a:cxn ang="0">
                  <a:pos x="186" y="316"/>
                </a:cxn>
                <a:cxn ang="0">
                  <a:pos x="210" y="316"/>
                </a:cxn>
                <a:cxn ang="0">
                  <a:pos x="214" y="266"/>
                </a:cxn>
                <a:cxn ang="0">
                  <a:pos x="208" y="236"/>
                </a:cxn>
                <a:cxn ang="0">
                  <a:pos x="206" y="224"/>
                </a:cxn>
                <a:cxn ang="0">
                  <a:pos x="194" y="176"/>
                </a:cxn>
                <a:cxn ang="0">
                  <a:pos x="192" y="158"/>
                </a:cxn>
                <a:cxn ang="0">
                  <a:pos x="186" y="114"/>
                </a:cxn>
                <a:cxn ang="0">
                  <a:pos x="174" y="104"/>
                </a:cxn>
                <a:cxn ang="0">
                  <a:pos x="168" y="92"/>
                </a:cxn>
                <a:cxn ang="0">
                  <a:pos x="162" y="76"/>
                </a:cxn>
                <a:cxn ang="0">
                  <a:pos x="142" y="8"/>
                </a:cxn>
                <a:cxn ang="0">
                  <a:pos x="112" y="0"/>
                </a:cxn>
                <a:cxn ang="0">
                  <a:pos x="90" y="30"/>
                </a:cxn>
                <a:cxn ang="0">
                  <a:pos x="78" y="92"/>
                </a:cxn>
                <a:cxn ang="0">
                  <a:pos x="52" y="98"/>
                </a:cxn>
                <a:cxn ang="0">
                  <a:pos x="40" y="120"/>
                </a:cxn>
                <a:cxn ang="0">
                  <a:pos x="10" y="164"/>
                </a:cxn>
                <a:cxn ang="0">
                  <a:pos x="0" y="186"/>
                </a:cxn>
                <a:cxn ang="0">
                  <a:pos x="168" y="166"/>
                </a:cxn>
                <a:cxn ang="0">
                  <a:pos x="170" y="178"/>
                </a:cxn>
                <a:cxn ang="0">
                  <a:pos x="170" y="178"/>
                </a:cxn>
                <a:cxn ang="0">
                  <a:pos x="176" y="216"/>
                </a:cxn>
                <a:cxn ang="0">
                  <a:pos x="182" y="230"/>
                </a:cxn>
                <a:cxn ang="0">
                  <a:pos x="166" y="230"/>
                </a:cxn>
                <a:cxn ang="0">
                  <a:pos x="24" y="186"/>
                </a:cxn>
                <a:cxn ang="0">
                  <a:pos x="60" y="146"/>
                </a:cxn>
                <a:cxn ang="0">
                  <a:pos x="68" y="150"/>
                </a:cxn>
                <a:cxn ang="0">
                  <a:pos x="76" y="210"/>
                </a:cxn>
                <a:cxn ang="0">
                  <a:pos x="68" y="244"/>
                </a:cxn>
                <a:cxn ang="0">
                  <a:pos x="62" y="248"/>
                </a:cxn>
                <a:cxn ang="0">
                  <a:pos x="52" y="244"/>
                </a:cxn>
                <a:cxn ang="0">
                  <a:pos x="24" y="186"/>
                </a:cxn>
              </a:cxnLst>
              <a:rect l="0" t="0" r="r" b="b"/>
              <a:pathLst>
                <a:path w="222" h="612">
                  <a:moveTo>
                    <a:pt x="0" y="188"/>
                  </a:moveTo>
                  <a:lnTo>
                    <a:pt x="0" y="188"/>
                  </a:lnTo>
                  <a:lnTo>
                    <a:pt x="2" y="194"/>
                  </a:lnTo>
                  <a:lnTo>
                    <a:pt x="2" y="194"/>
                  </a:lnTo>
                  <a:lnTo>
                    <a:pt x="10" y="216"/>
                  </a:lnTo>
                  <a:lnTo>
                    <a:pt x="10" y="216"/>
                  </a:lnTo>
                  <a:lnTo>
                    <a:pt x="10" y="222"/>
                  </a:lnTo>
                  <a:lnTo>
                    <a:pt x="10" y="222"/>
                  </a:lnTo>
                  <a:lnTo>
                    <a:pt x="14" y="226"/>
                  </a:lnTo>
                  <a:lnTo>
                    <a:pt x="14" y="226"/>
                  </a:lnTo>
                  <a:lnTo>
                    <a:pt x="20" y="232"/>
                  </a:lnTo>
                  <a:lnTo>
                    <a:pt x="20" y="232"/>
                  </a:lnTo>
                  <a:lnTo>
                    <a:pt x="20" y="232"/>
                  </a:lnTo>
                  <a:lnTo>
                    <a:pt x="20" y="234"/>
                  </a:lnTo>
                  <a:lnTo>
                    <a:pt x="20" y="234"/>
                  </a:lnTo>
                  <a:lnTo>
                    <a:pt x="22" y="236"/>
                  </a:lnTo>
                  <a:lnTo>
                    <a:pt x="22" y="236"/>
                  </a:lnTo>
                  <a:lnTo>
                    <a:pt x="22" y="236"/>
                  </a:lnTo>
                  <a:lnTo>
                    <a:pt x="34" y="252"/>
                  </a:lnTo>
                  <a:lnTo>
                    <a:pt x="34" y="252"/>
                  </a:lnTo>
                  <a:lnTo>
                    <a:pt x="36" y="254"/>
                  </a:lnTo>
                  <a:lnTo>
                    <a:pt x="40" y="256"/>
                  </a:lnTo>
                  <a:lnTo>
                    <a:pt x="44" y="258"/>
                  </a:lnTo>
                  <a:lnTo>
                    <a:pt x="44" y="258"/>
                  </a:lnTo>
                  <a:lnTo>
                    <a:pt x="48" y="260"/>
                  </a:lnTo>
                  <a:lnTo>
                    <a:pt x="50" y="262"/>
                  </a:lnTo>
                  <a:lnTo>
                    <a:pt x="56" y="266"/>
                  </a:lnTo>
                  <a:lnTo>
                    <a:pt x="56" y="266"/>
                  </a:lnTo>
                  <a:lnTo>
                    <a:pt x="60" y="270"/>
                  </a:lnTo>
                  <a:lnTo>
                    <a:pt x="60" y="270"/>
                  </a:lnTo>
                  <a:lnTo>
                    <a:pt x="60" y="270"/>
                  </a:lnTo>
                  <a:lnTo>
                    <a:pt x="64" y="274"/>
                  </a:lnTo>
                  <a:lnTo>
                    <a:pt x="64" y="280"/>
                  </a:lnTo>
                  <a:lnTo>
                    <a:pt x="64" y="280"/>
                  </a:lnTo>
                  <a:lnTo>
                    <a:pt x="64" y="292"/>
                  </a:lnTo>
                  <a:lnTo>
                    <a:pt x="64" y="308"/>
                  </a:lnTo>
                  <a:lnTo>
                    <a:pt x="66" y="334"/>
                  </a:lnTo>
                  <a:lnTo>
                    <a:pt x="66" y="334"/>
                  </a:lnTo>
                  <a:lnTo>
                    <a:pt x="66" y="382"/>
                  </a:lnTo>
                  <a:lnTo>
                    <a:pt x="66" y="382"/>
                  </a:lnTo>
                  <a:lnTo>
                    <a:pt x="66" y="392"/>
                  </a:lnTo>
                  <a:lnTo>
                    <a:pt x="64" y="400"/>
                  </a:lnTo>
                  <a:lnTo>
                    <a:pt x="64" y="400"/>
                  </a:lnTo>
                  <a:lnTo>
                    <a:pt x="64" y="418"/>
                  </a:lnTo>
                  <a:lnTo>
                    <a:pt x="62" y="434"/>
                  </a:lnTo>
                  <a:lnTo>
                    <a:pt x="66" y="436"/>
                  </a:lnTo>
                  <a:lnTo>
                    <a:pt x="66" y="436"/>
                  </a:lnTo>
                  <a:lnTo>
                    <a:pt x="64" y="452"/>
                  </a:lnTo>
                  <a:lnTo>
                    <a:pt x="64" y="468"/>
                  </a:lnTo>
                  <a:lnTo>
                    <a:pt x="66" y="484"/>
                  </a:lnTo>
                  <a:lnTo>
                    <a:pt x="66" y="484"/>
                  </a:lnTo>
                  <a:lnTo>
                    <a:pt x="70" y="508"/>
                  </a:lnTo>
                  <a:lnTo>
                    <a:pt x="72" y="532"/>
                  </a:lnTo>
                  <a:lnTo>
                    <a:pt x="74" y="558"/>
                  </a:lnTo>
                  <a:lnTo>
                    <a:pt x="74" y="558"/>
                  </a:lnTo>
                  <a:lnTo>
                    <a:pt x="70" y="582"/>
                  </a:lnTo>
                  <a:lnTo>
                    <a:pt x="66" y="600"/>
                  </a:lnTo>
                  <a:lnTo>
                    <a:pt x="66" y="600"/>
                  </a:lnTo>
                  <a:lnTo>
                    <a:pt x="66" y="604"/>
                  </a:lnTo>
                  <a:lnTo>
                    <a:pt x="68" y="608"/>
                  </a:lnTo>
                  <a:lnTo>
                    <a:pt x="74" y="612"/>
                  </a:lnTo>
                  <a:lnTo>
                    <a:pt x="78" y="612"/>
                  </a:lnTo>
                  <a:lnTo>
                    <a:pt x="80" y="612"/>
                  </a:lnTo>
                  <a:lnTo>
                    <a:pt x="80" y="612"/>
                  </a:lnTo>
                  <a:lnTo>
                    <a:pt x="88" y="610"/>
                  </a:lnTo>
                  <a:lnTo>
                    <a:pt x="94" y="608"/>
                  </a:lnTo>
                  <a:lnTo>
                    <a:pt x="94" y="604"/>
                  </a:lnTo>
                  <a:lnTo>
                    <a:pt x="96" y="602"/>
                  </a:lnTo>
                  <a:lnTo>
                    <a:pt x="96" y="602"/>
                  </a:lnTo>
                  <a:lnTo>
                    <a:pt x="96" y="570"/>
                  </a:lnTo>
                  <a:lnTo>
                    <a:pt x="96" y="570"/>
                  </a:lnTo>
                  <a:lnTo>
                    <a:pt x="96" y="570"/>
                  </a:lnTo>
                  <a:lnTo>
                    <a:pt x="96" y="562"/>
                  </a:lnTo>
                  <a:lnTo>
                    <a:pt x="94" y="558"/>
                  </a:lnTo>
                  <a:lnTo>
                    <a:pt x="92" y="556"/>
                  </a:lnTo>
                  <a:lnTo>
                    <a:pt x="92" y="556"/>
                  </a:lnTo>
                  <a:lnTo>
                    <a:pt x="90" y="538"/>
                  </a:lnTo>
                  <a:lnTo>
                    <a:pt x="94" y="516"/>
                  </a:lnTo>
                  <a:lnTo>
                    <a:pt x="100" y="484"/>
                  </a:lnTo>
                  <a:lnTo>
                    <a:pt x="100" y="484"/>
                  </a:lnTo>
                  <a:lnTo>
                    <a:pt x="102" y="472"/>
                  </a:lnTo>
                  <a:lnTo>
                    <a:pt x="100" y="456"/>
                  </a:lnTo>
                  <a:lnTo>
                    <a:pt x="100" y="436"/>
                  </a:lnTo>
                  <a:lnTo>
                    <a:pt x="100" y="436"/>
                  </a:lnTo>
                  <a:lnTo>
                    <a:pt x="124" y="434"/>
                  </a:lnTo>
                  <a:lnTo>
                    <a:pt x="138" y="434"/>
                  </a:lnTo>
                  <a:lnTo>
                    <a:pt x="138" y="440"/>
                  </a:lnTo>
                  <a:lnTo>
                    <a:pt x="138" y="440"/>
                  </a:lnTo>
                  <a:lnTo>
                    <a:pt x="136" y="454"/>
                  </a:lnTo>
                  <a:lnTo>
                    <a:pt x="136" y="470"/>
                  </a:lnTo>
                  <a:lnTo>
                    <a:pt x="138" y="486"/>
                  </a:lnTo>
                  <a:lnTo>
                    <a:pt x="140" y="498"/>
                  </a:lnTo>
                  <a:lnTo>
                    <a:pt x="140" y="498"/>
                  </a:lnTo>
                  <a:lnTo>
                    <a:pt x="144" y="510"/>
                  </a:lnTo>
                  <a:lnTo>
                    <a:pt x="144" y="526"/>
                  </a:lnTo>
                  <a:lnTo>
                    <a:pt x="144" y="546"/>
                  </a:lnTo>
                  <a:lnTo>
                    <a:pt x="144" y="546"/>
                  </a:lnTo>
                  <a:lnTo>
                    <a:pt x="144" y="548"/>
                  </a:lnTo>
                  <a:lnTo>
                    <a:pt x="144" y="548"/>
                  </a:lnTo>
                  <a:lnTo>
                    <a:pt x="138" y="554"/>
                  </a:lnTo>
                  <a:lnTo>
                    <a:pt x="138" y="554"/>
                  </a:lnTo>
                  <a:lnTo>
                    <a:pt x="138" y="558"/>
                  </a:lnTo>
                  <a:lnTo>
                    <a:pt x="138" y="564"/>
                  </a:lnTo>
                  <a:lnTo>
                    <a:pt x="138" y="564"/>
                  </a:lnTo>
                  <a:lnTo>
                    <a:pt x="142" y="568"/>
                  </a:lnTo>
                  <a:lnTo>
                    <a:pt x="144" y="572"/>
                  </a:lnTo>
                  <a:lnTo>
                    <a:pt x="144" y="592"/>
                  </a:lnTo>
                  <a:lnTo>
                    <a:pt x="150" y="592"/>
                  </a:lnTo>
                  <a:lnTo>
                    <a:pt x="150" y="586"/>
                  </a:lnTo>
                  <a:lnTo>
                    <a:pt x="150" y="586"/>
                  </a:lnTo>
                  <a:lnTo>
                    <a:pt x="152" y="590"/>
                  </a:lnTo>
                  <a:lnTo>
                    <a:pt x="152" y="590"/>
                  </a:lnTo>
                  <a:lnTo>
                    <a:pt x="154" y="600"/>
                  </a:lnTo>
                  <a:lnTo>
                    <a:pt x="154" y="600"/>
                  </a:lnTo>
                  <a:lnTo>
                    <a:pt x="156" y="602"/>
                  </a:lnTo>
                  <a:lnTo>
                    <a:pt x="160" y="604"/>
                  </a:lnTo>
                  <a:lnTo>
                    <a:pt x="170" y="606"/>
                  </a:lnTo>
                  <a:lnTo>
                    <a:pt x="180" y="606"/>
                  </a:lnTo>
                  <a:lnTo>
                    <a:pt x="184" y="606"/>
                  </a:lnTo>
                  <a:lnTo>
                    <a:pt x="184" y="606"/>
                  </a:lnTo>
                  <a:lnTo>
                    <a:pt x="186" y="604"/>
                  </a:lnTo>
                  <a:lnTo>
                    <a:pt x="186" y="602"/>
                  </a:lnTo>
                  <a:lnTo>
                    <a:pt x="184" y="596"/>
                  </a:lnTo>
                  <a:lnTo>
                    <a:pt x="184" y="596"/>
                  </a:lnTo>
                  <a:lnTo>
                    <a:pt x="178" y="588"/>
                  </a:lnTo>
                  <a:lnTo>
                    <a:pt x="178" y="588"/>
                  </a:lnTo>
                  <a:lnTo>
                    <a:pt x="172" y="578"/>
                  </a:lnTo>
                  <a:lnTo>
                    <a:pt x="172" y="578"/>
                  </a:lnTo>
                  <a:lnTo>
                    <a:pt x="166" y="560"/>
                  </a:lnTo>
                  <a:lnTo>
                    <a:pt x="164" y="548"/>
                  </a:lnTo>
                  <a:lnTo>
                    <a:pt x="164" y="548"/>
                  </a:lnTo>
                  <a:lnTo>
                    <a:pt x="164" y="532"/>
                  </a:lnTo>
                  <a:lnTo>
                    <a:pt x="168" y="498"/>
                  </a:lnTo>
                  <a:lnTo>
                    <a:pt x="168" y="498"/>
                  </a:lnTo>
                  <a:lnTo>
                    <a:pt x="172" y="476"/>
                  </a:lnTo>
                  <a:lnTo>
                    <a:pt x="172" y="454"/>
                  </a:lnTo>
                  <a:lnTo>
                    <a:pt x="172" y="430"/>
                  </a:lnTo>
                  <a:lnTo>
                    <a:pt x="172" y="430"/>
                  </a:lnTo>
                  <a:lnTo>
                    <a:pt x="178" y="430"/>
                  </a:lnTo>
                  <a:lnTo>
                    <a:pt x="182" y="428"/>
                  </a:lnTo>
                  <a:lnTo>
                    <a:pt x="184" y="426"/>
                  </a:lnTo>
                  <a:lnTo>
                    <a:pt x="182" y="426"/>
                  </a:lnTo>
                  <a:lnTo>
                    <a:pt x="182" y="426"/>
                  </a:lnTo>
                  <a:lnTo>
                    <a:pt x="182" y="420"/>
                  </a:lnTo>
                  <a:lnTo>
                    <a:pt x="180" y="406"/>
                  </a:lnTo>
                  <a:lnTo>
                    <a:pt x="180" y="368"/>
                  </a:lnTo>
                  <a:lnTo>
                    <a:pt x="180" y="314"/>
                  </a:lnTo>
                  <a:lnTo>
                    <a:pt x="168" y="316"/>
                  </a:lnTo>
                  <a:lnTo>
                    <a:pt x="148" y="242"/>
                  </a:lnTo>
                  <a:lnTo>
                    <a:pt x="146" y="238"/>
                  </a:lnTo>
                  <a:lnTo>
                    <a:pt x="146" y="238"/>
                  </a:lnTo>
                  <a:lnTo>
                    <a:pt x="152" y="236"/>
                  </a:lnTo>
                  <a:lnTo>
                    <a:pt x="176" y="314"/>
                  </a:lnTo>
                  <a:lnTo>
                    <a:pt x="180" y="312"/>
                  </a:lnTo>
                  <a:lnTo>
                    <a:pt x="190" y="310"/>
                  </a:lnTo>
                  <a:lnTo>
                    <a:pt x="200" y="310"/>
                  </a:lnTo>
                  <a:lnTo>
                    <a:pt x="200" y="310"/>
                  </a:lnTo>
                  <a:lnTo>
                    <a:pt x="200" y="310"/>
                  </a:lnTo>
                  <a:lnTo>
                    <a:pt x="200" y="310"/>
                  </a:lnTo>
                  <a:lnTo>
                    <a:pt x="200" y="310"/>
                  </a:lnTo>
                  <a:lnTo>
                    <a:pt x="200" y="310"/>
                  </a:lnTo>
                  <a:lnTo>
                    <a:pt x="198" y="312"/>
                  </a:lnTo>
                  <a:lnTo>
                    <a:pt x="198" y="312"/>
                  </a:lnTo>
                  <a:lnTo>
                    <a:pt x="198" y="312"/>
                  </a:lnTo>
                  <a:lnTo>
                    <a:pt x="198" y="312"/>
                  </a:lnTo>
                  <a:lnTo>
                    <a:pt x="186" y="314"/>
                  </a:lnTo>
                  <a:lnTo>
                    <a:pt x="186" y="314"/>
                  </a:lnTo>
                  <a:lnTo>
                    <a:pt x="186" y="316"/>
                  </a:lnTo>
                  <a:lnTo>
                    <a:pt x="186" y="316"/>
                  </a:lnTo>
                  <a:lnTo>
                    <a:pt x="194" y="318"/>
                  </a:lnTo>
                  <a:lnTo>
                    <a:pt x="194" y="318"/>
                  </a:lnTo>
                  <a:lnTo>
                    <a:pt x="208" y="318"/>
                  </a:lnTo>
                  <a:lnTo>
                    <a:pt x="208" y="318"/>
                  </a:lnTo>
                  <a:lnTo>
                    <a:pt x="210" y="316"/>
                  </a:lnTo>
                  <a:lnTo>
                    <a:pt x="212" y="314"/>
                  </a:lnTo>
                  <a:lnTo>
                    <a:pt x="214" y="310"/>
                  </a:lnTo>
                  <a:lnTo>
                    <a:pt x="214" y="310"/>
                  </a:lnTo>
                  <a:lnTo>
                    <a:pt x="214" y="308"/>
                  </a:lnTo>
                  <a:lnTo>
                    <a:pt x="222" y="306"/>
                  </a:lnTo>
                  <a:lnTo>
                    <a:pt x="214" y="266"/>
                  </a:lnTo>
                  <a:lnTo>
                    <a:pt x="214" y="266"/>
                  </a:lnTo>
                  <a:lnTo>
                    <a:pt x="212" y="258"/>
                  </a:lnTo>
                  <a:lnTo>
                    <a:pt x="212" y="258"/>
                  </a:lnTo>
                  <a:lnTo>
                    <a:pt x="212" y="248"/>
                  </a:lnTo>
                  <a:lnTo>
                    <a:pt x="212" y="248"/>
                  </a:lnTo>
                  <a:lnTo>
                    <a:pt x="208" y="236"/>
                  </a:lnTo>
                  <a:lnTo>
                    <a:pt x="208" y="236"/>
                  </a:lnTo>
                  <a:lnTo>
                    <a:pt x="208" y="230"/>
                  </a:lnTo>
                  <a:lnTo>
                    <a:pt x="208" y="230"/>
                  </a:lnTo>
                  <a:lnTo>
                    <a:pt x="206" y="224"/>
                  </a:lnTo>
                  <a:lnTo>
                    <a:pt x="206" y="224"/>
                  </a:lnTo>
                  <a:lnTo>
                    <a:pt x="206" y="224"/>
                  </a:lnTo>
                  <a:lnTo>
                    <a:pt x="206" y="220"/>
                  </a:lnTo>
                  <a:lnTo>
                    <a:pt x="206" y="220"/>
                  </a:lnTo>
                  <a:lnTo>
                    <a:pt x="206" y="210"/>
                  </a:lnTo>
                  <a:lnTo>
                    <a:pt x="200" y="198"/>
                  </a:lnTo>
                  <a:lnTo>
                    <a:pt x="196" y="188"/>
                  </a:lnTo>
                  <a:lnTo>
                    <a:pt x="194" y="176"/>
                  </a:lnTo>
                  <a:lnTo>
                    <a:pt x="194" y="176"/>
                  </a:lnTo>
                  <a:lnTo>
                    <a:pt x="194" y="170"/>
                  </a:lnTo>
                  <a:lnTo>
                    <a:pt x="192" y="158"/>
                  </a:lnTo>
                  <a:lnTo>
                    <a:pt x="192" y="158"/>
                  </a:lnTo>
                  <a:lnTo>
                    <a:pt x="192" y="158"/>
                  </a:lnTo>
                  <a:lnTo>
                    <a:pt x="192" y="158"/>
                  </a:lnTo>
                  <a:lnTo>
                    <a:pt x="192" y="154"/>
                  </a:lnTo>
                  <a:lnTo>
                    <a:pt x="192" y="154"/>
                  </a:lnTo>
                  <a:lnTo>
                    <a:pt x="192" y="142"/>
                  </a:lnTo>
                  <a:lnTo>
                    <a:pt x="190" y="132"/>
                  </a:lnTo>
                  <a:lnTo>
                    <a:pt x="186" y="114"/>
                  </a:lnTo>
                  <a:lnTo>
                    <a:pt x="186" y="114"/>
                  </a:lnTo>
                  <a:lnTo>
                    <a:pt x="184" y="112"/>
                  </a:lnTo>
                  <a:lnTo>
                    <a:pt x="182" y="110"/>
                  </a:lnTo>
                  <a:lnTo>
                    <a:pt x="178" y="108"/>
                  </a:lnTo>
                  <a:lnTo>
                    <a:pt x="178" y="108"/>
                  </a:lnTo>
                  <a:lnTo>
                    <a:pt x="176" y="108"/>
                  </a:lnTo>
                  <a:lnTo>
                    <a:pt x="174" y="104"/>
                  </a:lnTo>
                  <a:lnTo>
                    <a:pt x="174" y="104"/>
                  </a:lnTo>
                  <a:lnTo>
                    <a:pt x="174" y="100"/>
                  </a:lnTo>
                  <a:lnTo>
                    <a:pt x="172" y="98"/>
                  </a:lnTo>
                  <a:lnTo>
                    <a:pt x="172" y="98"/>
                  </a:lnTo>
                  <a:lnTo>
                    <a:pt x="168" y="96"/>
                  </a:lnTo>
                  <a:lnTo>
                    <a:pt x="168" y="92"/>
                  </a:lnTo>
                  <a:lnTo>
                    <a:pt x="168" y="92"/>
                  </a:lnTo>
                  <a:lnTo>
                    <a:pt x="166" y="86"/>
                  </a:lnTo>
                  <a:lnTo>
                    <a:pt x="164" y="80"/>
                  </a:lnTo>
                  <a:lnTo>
                    <a:pt x="164" y="80"/>
                  </a:lnTo>
                  <a:lnTo>
                    <a:pt x="162" y="78"/>
                  </a:lnTo>
                  <a:lnTo>
                    <a:pt x="162" y="76"/>
                  </a:lnTo>
                  <a:lnTo>
                    <a:pt x="162" y="76"/>
                  </a:lnTo>
                  <a:lnTo>
                    <a:pt x="158" y="54"/>
                  </a:lnTo>
                  <a:lnTo>
                    <a:pt x="158" y="54"/>
                  </a:lnTo>
                  <a:lnTo>
                    <a:pt x="154" y="32"/>
                  </a:lnTo>
                  <a:lnTo>
                    <a:pt x="148" y="16"/>
                  </a:lnTo>
                  <a:lnTo>
                    <a:pt x="142" y="8"/>
                  </a:lnTo>
                  <a:lnTo>
                    <a:pt x="134" y="2"/>
                  </a:lnTo>
                  <a:lnTo>
                    <a:pt x="128" y="0"/>
                  </a:lnTo>
                  <a:lnTo>
                    <a:pt x="122" y="0"/>
                  </a:lnTo>
                  <a:lnTo>
                    <a:pt x="118" y="0"/>
                  </a:lnTo>
                  <a:lnTo>
                    <a:pt x="118" y="0"/>
                  </a:lnTo>
                  <a:lnTo>
                    <a:pt x="112" y="0"/>
                  </a:lnTo>
                  <a:lnTo>
                    <a:pt x="108" y="2"/>
                  </a:lnTo>
                  <a:lnTo>
                    <a:pt x="102" y="6"/>
                  </a:lnTo>
                  <a:lnTo>
                    <a:pt x="98" y="12"/>
                  </a:lnTo>
                  <a:lnTo>
                    <a:pt x="96" y="14"/>
                  </a:lnTo>
                  <a:lnTo>
                    <a:pt x="96" y="14"/>
                  </a:lnTo>
                  <a:lnTo>
                    <a:pt x="90" y="30"/>
                  </a:lnTo>
                  <a:lnTo>
                    <a:pt x="86" y="46"/>
                  </a:lnTo>
                  <a:lnTo>
                    <a:pt x="84" y="60"/>
                  </a:lnTo>
                  <a:lnTo>
                    <a:pt x="84" y="60"/>
                  </a:lnTo>
                  <a:lnTo>
                    <a:pt x="84" y="72"/>
                  </a:lnTo>
                  <a:lnTo>
                    <a:pt x="82" y="82"/>
                  </a:lnTo>
                  <a:lnTo>
                    <a:pt x="78" y="92"/>
                  </a:lnTo>
                  <a:lnTo>
                    <a:pt x="54" y="98"/>
                  </a:lnTo>
                  <a:lnTo>
                    <a:pt x="54" y="98"/>
                  </a:lnTo>
                  <a:lnTo>
                    <a:pt x="54" y="98"/>
                  </a:lnTo>
                  <a:lnTo>
                    <a:pt x="54" y="98"/>
                  </a:lnTo>
                  <a:lnTo>
                    <a:pt x="52" y="98"/>
                  </a:lnTo>
                  <a:lnTo>
                    <a:pt x="52" y="98"/>
                  </a:lnTo>
                  <a:lnTo>
                    <a:pt x="52" y="98"/>
                  </a:lnTo>
                  <a:lnTo>
                    <a:pt x="52" y="98"/>
                  </a:lnTo>
                  <a:lnTo>
                    <a:pt x="48" y="102"/>
                  </a:lnTo>
                  <a:lnTo>
                    <a:pt x="48" y="102"/>
                  </a:lnTo>
                  <a:lnTo>
                    <a:pt x="44" y="110"/>
                  </a:lnTo>
                  <a:lnTo>
                    <a:pt x="40" y="120"/>
                  </a:lnTo>
                  <a:lnTo>
                    <a:pt x="32" y="136"/>
                  </a:lnTo>
                  <a:lnTo>
                    <a:pt x="32" y="136"/>
                  </a:lnTo>
                  <a:lnTo>
                    <a:pt x="22" y="148"/>
                  </a:lnTo>
                  <a:lnTo>
                    <a:pt x="16" y="154"/>
                  </a:lnTo>
                  <a:lnTo>
                    <a:pt x="16" y="154"/>
                  </a:lnTo>
                  <a:lnTo>
                    <a:pt x="10" y="164"/>
                  </a:lnTo>
                  <a:lnTo>
                    <a:pt x="10" y="164"/>
                  </a:lnTo>
                  <a:lnTo>
                    <a:pt x="6" y="168"/>
                  </a:lnTo>
                  <a:lnTo>
                    <a:pt x="6" y="168"/>
                  </a:lnTo>
                  <a:lnTo>
                    <a:pt x="0" y="182"/>
                  </a:lnTo>
                  <a:lnTo>
                    <a:pt x="0" y="182"/>
                  </a:lnTo>
                  <a:lnTo>
                    <a:pt x="0" y="186"/>
                  </a:lnTo>
                  <a:lnTo>
                    <a:pt x="0" y="186"/>
                  </a:lnTo>
                  <a:lnTo>
                    <a:pt x="0" y="188"/>
                  </a:lnTo>
                  <a:lnTo>
                    <a:pt x="0" y="188"/>
                  </a:lnTo>
                  <a:close/>
                  <a:moveTo>
                    <a:pt x="166" y="172"/>
                  </a:moveTo>
                  <a:lnTo>
                    <a:pt x="168" y="170"/>
                  </a:lnTo>
                  <a:lnTo>
                    <a:pt x="168" y="166"/>
                  </a:lnTo>
                  <a:lnTo>
                    <a:pt x="168" y="166"/>
                  </a:lnTo>
                  <a:lnTo>
                    <a:pt x="170" y="166"/>
                  </a:lnTo>
                  <a:lnTo>
                    <a:pt x="170" y="166"/>
                  </a:lnTo>
                  <a:lnTo>
                    <a:pt x="170" y="172"/>
                  </a:lnTo>
                  <a:lnTo>
                    <a:pt x="170" y="178"/>
                  </a:lnTo>
                  <a:lnTo>
                    <a:pt x="170" y="178"/>
                  </a:lnTo>
                  <a:lnTo>
                    <a:pt x="170" y="178"/>
                  </a:lnTo>
                  <a:lnTo>
                    <a:pt x="170" y="178"/>
                  </a:lnTo>
                  <a:lnTo>
                    <a:pt x="170" y="178"/>
                  </a:lnTo>
                  <a:lnTo>
                    <a:pt x="170" y="178"/>
                  </a:lnTo>
                  <a:lnTo>
                    <a:pt x="170" y="178"/>
                  </a:lnTo>
                  <a:lnTo>
                    <a:pt x="170" y="178"/>
                  </a:lnTo>
                  <a:lnTo>
                    <a:pt x="170" y="178"/>
                  </a:lnTo>
                  <a:lnTo>
                    <a:pt x="170" y="178"/>
                  </a:lnTo>
                  <a:lnTo>
                    <a:pt x="170" y="182"/>
                  </a:lnTo>
                  <a:lnTo>
                    <a:pt x="170" y="182"/>
                  </a:lnTo>
                  <a:lnTo>
                    <a:pt x="174" y="204"/>
                  </a:lnTo>
                  <a:lnTo>
                    <a:pt x="176" y="216"/>
                  </a:lnTo>
                  <a:lnTo>
                    <a:pt x="180" y="224"/>
                  </a:lnTo>
                  <a:lnTo>
                    <a:pt x="180" y="224"/>
                  </a:lnTo>
                  <a:lnTo>
                    <a:pt x="182" y="230"/>
                  </a:lnTo>
                  <a:lnTo>
                    <a:pt x="182" y="230"/>
                  </a:lnTo>
                  <a:lnTo>
                    <a:pt x="182" y="230"/>
                  </a:lnTo>
                  <a:lnTo>
                    <a:pt x="182" y="230"/>
                  </a:lnTo>
                  <a:lnTo>
                    <a:pt x="184" y="234"/>
                  </a:lnTo>
                  <a:lnTo>
                    <a:pt x="184" y="234"/>
                  </a:lnTo>
                  <a:lnTo>
                    <a:pt x="184" y="234"/>
                  </a:lnTo>
                  <a:lnTo>
                    <a:pt x="166" y="236"/>
                  </a:lnTo>
                  <a:lnTo>
                    <a:pt x="166" y="236"/>
                  </a:lnTo>
                  <a:lnTo>
                    <a:pt x="166" y="230"/>
                  </a:lnTo>
                  <a:lnTo>
                    <a:pt x="164" y="216"/>
                  </a:lnTo>
                  <a:lnTo>
                    <a:pt x="162" y="194"/>
                  </a:lnTo>
                  <a:lnTo>
                    <a:pt x="164" y="184"/>
                  </a:lnTo>
                  <a:lnTo>
                    <a:pt x="166" y="172"/>
                  </a:lnTo>
                  <a:lnTo>
                    <a:pt x="166" y="172"/>
                  </a:lnTo>
                  <a:close/>
                  <a:moveTo>
                    <a:pt x="24" y="186"/>
                  </a:moveTo>
                  <a:lnTo>
                    <a:pt x="24" y="186"/>
                  </a:lnTo>
                  <a:lnTo>
                    <a:pt x="36" y="174"/>
                  </a:lnTo>
                  <a:lnTo>
                    <a:pt x="48" y="162"/>
                  </a:lnTo>
                  <a:lnTo>
                    <a:pt x="56" y="148"/>
                  </a:lnTo>
                  <a:lnTo>
                    <a:pt x="56" y="148"/>
                  </a:lnTo>
                  <a:lnTo>
                    <a:pt x="60" y="146"/>
                  </a:lnTo>
                  <a:lnTo>
                    <a:pt x="60" y="146"/>
                  </a:lnTo>
                  <a:lnTo>
                    <a:pt x="60" y="146"/>
                  </a:lnTo>
                  <a:lnTo>
                    <a:pt x="60" y="146"/>
                  </a:lnTo>
                  <a:lnTo>
                    <a:pt x="64" y="148"/>
                  </a:lnTo>
                  <a:lnTo>
                    <a:pt x="64" y="148"/>
                  </a:lnTo>
                  <a:lnTo>
                    <a:pt x="68" y="150"/>
                  </a:lnTo>
                  <a:lnTo>
                    <a:pt x="70" y="156"/>
                  </a:lnTo>
                  <a:lnTo>
                    <a:pt x="72" y="164"/>
                  </a:lnTo>
                  <a:lnTo>
                    <a:pt x="72" y="164"/>
                  </a:lnTo>
                  <a:lnTo>
                    <a:pt x="76" y="182"/>
                  </a:lnTo>
                  <a:lnTo>
                    <a:pt x="78" y="196"/>
                  </a:lnTo>
                  <a:lnTo>
                    <a:pt x="76" y="210"/>
                  </a:lnTo>
                  <a:lnTo>
                    <a:pt x="76" y="210"/>
                  </a:lnTo>
                  <a:lnTo>
                    <a:pt x="74" y="224"/>
                  </a:lnTo>
                  <a:lnTo>
                    <a:pt x="72" y="232"/>
                  </a:lnTo>
                  <a:lnTo>
                    <a:pt x="70" y="234"/>
                  </a:lnTo>
                  <a:lnTo>
                    <a:pt x="68" y="244"/>
                  </a:lnTo>
                  <a:lnTo>
                    <a:pt x="68" y="244"/>
                  </a:lnTo>
                  <a:lnTo>
                    <a:pt x="66" y="246"/>
                  </a:lnTo>
                  <a:lnTo>
                    <a:pt x="66" y="246"/>
                  </a:lnTo>
                  <a:lnTo>
                    <a:pt x="62" y="246"/>
                  </a:lnTo>
                  <a:lnTo>
                    <a:pt x="62" y="246"/>
                  </a:lnTo>
                  <a:lnTo>
                    <a:pt x="62" y="248"/>
                  </a:lnTo>
                  <a:lnTo>
                    <a:pt x="62" y="248"/>
                  </a:lnTo>
                  <a:lnTo>
                    <a:pt x="52" y="246"/>
                  </a:lnTo>
                  <a:lnTo>
                    <a:pt x="52" y="246"/>
                  </a:lnTo>
                  <a:lnTo>
                    <a:pt x="50" y="246"/>
                  </a:lnTo>
                  <a:lnTo>
                    <a:pt x="50" y="246"/>
                  </a:lnTo>
                  <a:lnTo>
                    <a:pt x="52" y="244"/>
                  </a:lnTo>
                  <a:lnTo>
                    <a:pt x="52" y="244"/>
                  </a:lnTo>
                  <a:lnTo>
                    <a:pt x="40" y="224"/>
                  </a:lnTo>
                  <a:lnTo>
                    <a:pt x="40" y="222"/>
                  </a:lnTo>
                  <a:lnTo>
                    <a:pt x="40" y="222"/>
                  </a:lnTo>
                  <a:lnTo>
                    <a:pt x="38" y="214"/>
                  </a:lnTo>
                  <a:lnTo>
                    <a:pt x="34" y="206"/>
                  </a:lnTo>
                  <a:lnTo>
                    <a:pt x="24" y="186"/>
                  </a:lnTo>
                  <a:lnTo>
                    <a:pt x="24" y="186"/>
                  </a:lnTo>
                  <a:close/>
                </a:path>
              </a:pathLst>
            </a:custGeom>
            <a:grpFill/>
            <a:ln w="9525">
              <a:noFill/>
              <a:round/>
              <a:headEnd/>
              <a:tailEnd/>
            </a:ln>
          </p:spPr>
          <p:txBody>
            <a:bodyPr>
              <a:prstTxWarp prst="textNoShape">
                <a:avLst/>
              </a:prstTxWarp>
            </a:bodyPr>
            <a:lstStyle/>
            <a:p>
              <a:endParaRPr lang="en-GB" dirty="0">
                <a:latin typeface="Garamond"/>
              </a:endParaRPr>
            </a:p>
          </p:txBody>
        </p:sp>
        <p:sp>
          <p:nvSpPr>
            <p:cNvPr id="103" name="Freeform 1879"/>
            <p:cNvSpPr>
              <a:spLocks/>
            </p:cNvSpPr>
            <p:nvPr/>
          </p:nvSpPr>
          <p:spPr bwMode="gray">
            <a:xfrm>
              <a:off x="2952" y="3010"/>
              <a:ext cx="32" cy="62"/>
            </a:xfrm>
            <a:custGeom>
              <a:avLst/>
              <a:gdLst/>
              <a:ahLst/>
              <a:cxnLst>
                <a:cxn ang="0">
                  <a:pos x="18" y="0"/>
                </a:cxn>
                <a:cxn ang="0">
                  <a:pos x="18" y="0"/>
                </a:cxn>
                <a:cxn ang="0">
                  <a:pos x="16" y="2"/>
                </a:cxn>
                <a:cxn ang="0">
                  <a:pos x="12" y="8"/>
                </a:cxn>
                <a:cxn ang="0">
                  <a:pos x="4" y="26"/>
                </a:cxn>
                <a:cxn ang="0">
                  <a:pos x="4" y="26"/>
                </a:cxn>
                <a:cxn ang="0">
                  <a:pos x="2" y="34"/>
                </a:cxn>
                <a:cxn ang="0">
                  <a:pos x="2" y="44"/>
                </a:cxn>
                <a:cxn ang="0">
                  <a:pos x="0" y="62"/>
                </a:cxn>
                <a:cxn ang="0">
                  <a:pos x="0" y="62"/>
                </a:cxn>
                <a:cxn ang="0">
                  <a:pos x="2" y="58"/>
                </a:cxn>
                <a:cxn ang="0">
                  <a:pos x="4" y="54"/>
                </a:cxn>
                <a:cxn ang="0">
                  <a:pos x="6" y="50"/>
                </a:cxn>
                <a:cxn ang="0">
                  <a:pos x="8" y="44"/>
                </a:cxn>
                <a:cxn ang="0">
                  <a:pos x="8" y="44"/>
                </a:cxn>
                <a:cxn ang="0">
                  <a:pos x="8" y="36"/>
                </a:cxn>
                <a:cxn ang="0">
                  <a:pos x="10" y="28"/>
                </a:cxn>
                <a:cxn ang="0">
                  <a:pos x="10" y="28"/>
                </a:cxn>
                <a:cxn ang="0">
                  <a:pos x="14" y="22"/>
                </a:cxn>
                <a:cxn ang="0">
                  <a:pos x="20" y="20"/>
                </a:cxn>
                <a:cxn ang="0">
                  <a:pos x="26" y="20"/>
                </a:cxn>
                <a:cxn ang="0">
                  <a:pos x="32" y="22"/>
                </a:cxn>
                <a:cxn ang="0">
                  <a:pos x="32" y="22"/>
                </a:cxn>
                <a:cxn ang="0">
                  <a:pos x="24" y="14"/>
                </a:cxn>
                <a:cxn ang="0">
                  <a:pos x="22" y="10"/>
                </a:cxn>
                <a:cxn ang="0">
                  <a:pos x="22" y="10"/>
                </a:cxn>
                <a:cxn ang="0">
                  <a:pos x="22" y="4"/>
                </a:cxn>
                <a:cxn ang="0">
                  <a:pos x="22" y="4"/>
                </a:cxn>
                <a:cxn ang="0">
                  <a:pos x="18" y="0"/>
                </a:cxn>
                <a:cxn ang="0">
                  <a:pos x="18" y="0"/>
                </a:cxn>
              </a:cxnLst>
              <a:rect l="0" t="0" r="r" b="b"/>
              <a:pathLst>
                <a:path w="32" h="62">
                  <a:moveTo>
                    <a:pt x="18" y="0"/>
                  </a:moveTo>
                  <a:lnTo>
                    <a:pt x="18" y="0"/>
                  </a:lnTo>
                  <a:lnTo>
                    <a:pt x="16" y="2"/>
                  </a:lnTo>
                  <a:lnTo>
                    <a:pt x="12" y="8"/>
                  </a:lnTo>
                  <a:lnTo>
                    <a:pt x="4" y="26"/>
                  </a:lnTo>
                  <a:lnTo>
                    <a:pt x="4" y="26"/>
                  </a:lnTo>
                  <a:lnTo>
                    <a:pt x="2" y="34"/>
                  </a:lnTo>
                  <a:lnTo>
                    <a:pt x="2" y="44"/>
                  </a:lnTo>
                  <a:lnTo>
                    <a:pt x="0" y="62"/>
                  </a:lnTo>
                  <a:lnTo>
                    <a:pt x="0" y="62"/>
                  </a:lnTo>
                  <a:lnTo>
                    <a:pt x="2" y="58"/>
                  </a:lnTo>
                  <a:lnTo>
                    <a:pt x="4" y="54"/>
                  </a:lnTo>
                  <a:lnTo>
                    <a:pt x="6" y="50"/>
                  </a:lnTo>
                  <a:lnTo>
                    <a:pt x="8" y="44"/>
                  </a:lnTo>
                  <a:lnTo>
                    <a:pt x="8" y="44"/>
                  </a:lnTo>
                  <a:lnTo>
                    <a:pt x="8" y="36"/>
                  </a:lnTo>
                  <a:lnTo>
                    <a:pt x="10" y="28"/>
                  </a:lnTo>
                  <a:lnTo>
                    <a:pt x="10" y="28"/>
                  </a:lnTo>
                  <a:lnTo>
                    <a:pt x="14" y="22"/>
                  </a:lnTo>
                  <a:lnTo>
                    <a:pt x="20" y="20"/>
                  </a:lnTo>
                  <a:lnTo>
                    <a:pt x="26" y="20"/>
                  </a:lnTo>
                  <a:lnTo>
                    <a:pt x="32" y="22"/>
                  </a:lnTo>
                  <a:lnTo>
                    <a:pt x="32" y="22"/>
                  </a:lnTo>
                  <a:lnTo>
                    <a:pt x="24" y="14"/>
                  </a:lnTo>
                  <a:lnTo>
                    <a:pt x="22" y="10"/>
                  </a:lnTo>
                  <a:lnTo>
                    <a:pt x="22" y="10"/>
                  </a:lnTo>
                  <a:lnTo>
                    <a:pt x="22" y="4"/>
                  </a:lnTo>
                  <a:lnTo>
                    <a:pt x="22" y="4"/>
                  </a:lnTo>
                  <a:lnTo>
                    <a:pt x="18" y="0"/>
                  </a:lnTo>
                  <a:lnTo>
                    <a:pt x="18" y="0"/>
                  </a:lnTo>
                  <a:close/>
                </a:path>
              </a:pathLst>
            </a:custGeom>
            <a:grpFill/>
            <a:ln w="9525">
              <a:noFill/>
              <a:round/>
              <a:headEnd/>
              <a:tailEnd/>
            </a:ln>
          </p:spPr>
          <p:txBody>
            <a:bodyPr>
              <a:prstTxWarp prst="textNoShape">
                <a:avLst/>
              </a:prstTxWarp>
            </a:bodyPr>
            <a:lstStyle/>
            <a:p>
              <a:endParaRPr lang="en-GB" dirty="0">
                <a:latin typeface="Garamond"/>
              </a:endParaRPr>
            </a:p>
          </p:txBody>
        </p:sp>
        <p:sp>
          <p:nvSpPr>
            <p:cNvPr id="104" name="Freeform 1880"/>
            <p:cNvSpPr>
              <a:spLocks/>
            </p:cNvSpPr>
            <p:nvPr/>
          </p:nvSpPr>
          <p:spPr bwMode="gray">
            <a:xfrm>
              <a:off x="2916" y="3012"/>
              <a:ext cx="38" cy="60"/>
            </a:xfrm>
            <a:custGeom>
              <a:avLst/>
              <a:gdLst/>
              <a:ahLst/>
              <a:cxnLst>
                <a:cxn ang="0">
                  <a:pos x="10" y="0"/>
                </a:cxn>
                <a:cxn ang="0">
                  <a:pos x="10" y="0"/>
                </a:cxn>
                <a:cxn ang="0">
                  <a:pos x="14" y="2"/>
                </a:cxn>
                <a:cxn ang="0">
                  <a:pos x="18" y="4"/>
                </a:cxn>
                <a:cxn ang="0">
                  <a:pos x="22" y="10"/>
                </a:cxn>
                <a:cxn ang="0">
                  <a:pos x="28" y="24"/>
                </a:cxn>
                <a:cxn ang="0">
                  <a:pos x="28" y="24"/>
                </a:cxn>
                <a:cxn ang="0">
                  <a:pos x="36" y="40"/>
                </a:cxn>
                <a:cxn ang="0">
                  <a:pos x="38" y="50"/>
                </a:cxn>
                <a:cxn ang="0">
                  <a:pos x="36" y="60"/>
                </a:cxn>
                <a:cxn ang="0">
                  <a:pos x="36" y="60"/>
                </a:cxn>
                <a:cxn ang="0">
                  <a:pos x="32" y="48"/>
                </a:cxn>
                <a:cxn ang="0">
                  <a:pos x="26" y="38"/>
                </a:cxn>
                <a:cxn ang="0">
                  <a:pos x="26" y="38"/>
                </a:cxn>
                <a:cxn ang="0">
                  <a:pos x="24" y="30"/>
                </a:cxn>
                <a:cxn ang="0">
                  <a:pos x="22" y="22"/>
                </a:cxn>
                <a:cxn ang="0">
                  <a:pos x="22" y="22"/>
                </a:cxn>
                <a:cxn ang="0">
                  <a:pos x="16" y="16"/>
                </a:cxn>
                <a:cxn ang="0">
                  <a:pos x="10" y="14"/>
                </a:cxn>
                <a:cxn ang="0">
                  <a:pos x="6" y="16"/>
                </a:cxn>
                <a:cxn ang="0">
                  <a:pos x="0" y="18"/>
                </a:cxn>
                <a:cxn ang="0">
                  <a:pos x="0" y="18"/>
                </a:cxn>
                <a:cxn ang="0">
                  <a:pos x="2" y="14"/>
                </a:cxn>
                <a:cxn ang="0">
                  <a:pos x="6" y="10"/>
                </a:cxn>
                <a:cxn ang="0">
                  <a:pos x="8" y="8"/>
                </a:cxn>
                <a:cxn ang="0">
                  <a:pos x="8" y="4"/>
                </a:cxn>
                <a:cxn ang="0">
                  <a:pos x="8" y="4"/>
                </a:cxn>
                <a:cxn ang="0">
                  <a:pos x="10" y="0"/>
                </a:cxn>
                <a:cxn ang="0">
                  <a:pos x="10" y="0"/>
                </a:cxn>
                <a:cxn ang="0">
                  <a:pos x="10" y="0"/>
                </a:cxn>
              </a:cxnLst>
              <a:rect l="0" t="0" r="r" b="b"/>
              <a:pathLst>
                <a:path w="38" h="60">
                  <a:moveTo>
                    <a:pt x="10" y="0"/>
                  </a:moveTo>
                  <a:lnTo>
                    <a:pt x="10" y="0"/>
                  </a:lnTo>
                  <a:lnTo>
                    <a:pt x="14" y="2"/>
                  </a:lnTo>
                  <a:lnTo>
                    <a:pt x="18" y="4"/>
                  </a:lnTo>
                  <a:lnTo>
                    <a:pt x="22" y="10"/>
                  </a:lnTo>
                  <a:lnTo>
                    <a:pt x="28" y="24"/>
                  </a:lnTo>
                  <a:lnTo>
                    <a:pt x="28" y="24"/>
                  </a:lnTo>
                  <a:lnTo>
                    <a:pt x="36" y="40"/>
                  </a:lnTo>
                  <a:lnTo>
                    <a:pt x="38" y="50"/>
                  </a:lnTo>
                  <a:lnTo>
                    <a:pt x="36" y="60"/>
                  </a:lnTo>
                  <a:lnTo>
                    <a:pt x="36" y="60"/>
                  </a:lnTo>
                  <a:lnTo>
                    <a:pt x="32" y="48"/>
                  </a:lnTo>
                  <a:lnTo>
                    <a:pt x="26" y="38"/>
                  </a:lnTo>
                  <a:lnTo>
                    <a:pt x="26" y="38"/>
                  </a:lnTo>
                  <a:lnTo>
                    <a:pt x="24" y="30"/>
                  </a:lnTo>
                  <a:lnTo>
                    <a:pt x="22" y="22"/>
                  </a:lnTo>
                  <a:lnTo>
                    <a:pt x="22" y="22"/>
                  </a:lnTo>
                  <a:lnTo>
                    <a:pt x="16" y="16"/>
                  </a:lnTo>
                  <a:lnTo>
                    <a:pt x="10" y="14"/>
                  </a:lnTo>
                  <a:lnTo>
                    <a:pt x="6" y="16"/>
                  </a:lnTo>
                  <a:lnTo>
                    <a:pt x="0" y="18"/>
                  </a:lnTo>
                  <a:lnTo>
                    <a:pt x="0" y="18"/>
                  </a:lnTo>
                  <a:lnTo>
                    <a:pt x="2" y="14"/>
                  </a:lnTo>
                  <a:lnTo>
                    <a:pt x="6" y="10"/>
                  </a:lnTo>
                  <a:lnTo>
                    <a:pt x="8" y="8"/>
                  </a:lnTo>
                  <a:lnTo>
                    <a:pt x="8" y="4"/>
                  </a:lnTo>
                  <a:lnTo>
                    <a:pt x="8" y="4"/>
                  </a:lnTo>
                  <a:lnTo>
                    <a:pt x="10" y="0"/>
                  </a:lnTo>
                  <a:lnTo>
                    <a:pt x="10" y="0"/>
                  </a:lnTo>
                  <a:lnTo>
                    <a:pt x="10" y="0"/>
                  </a:lnTo>
                  <a:close/>
                </a:path>
              </a:pathLst>
            </a:custGeom>
            <a:grpFill/>
            <a:ln w="9525">
              <a:noFill/>
              <a:round/>
              <a:headEnd/>
              <a:tailEnd/>
            </a:ln>
          </p:spPr>
          <p:txBody>
            <a:bodyPr>
              <a:prstTxWarp prst="textNoShape">
                <a:avLst/>
              </a:prstTxWarp>
            </a:bodyPr>
            <a:lstStyle/>
            <a:p>
              <a:endParaRPr lang="en-GB" dirty="0">
                <a:latin typeface="Garamond"/>
              </a:endParaRPr>
            </a:p>
          </p:txBody>
        </p:sp>
      </p:grpSp>
      <p:sp>
        <p:nvSpPr>
          <p:cNvPr id="60" name="Freeform 1887"/>
          <p:cNvSpPr>
            <a:spLocks/>
          </p:cNvSpPr>
          <p:nvPr>
            <p:custDataLst>
              <p:tags r:id="rId31"/>
            </p:custDataLst>
          </p:nvPr>
        </p:nvSpPr>
        <p:spPr bwMode="gray">
          <a:xfrm>
            <a:off x="5399186" y="1608981"/>
            <a:ext cx="465137" cy="2224087"/>
          </a:xfrm>
          <a:custGeom>
            <a:avLst/>
            <a:gdLst/>
            <a:ahLst/>
            <a:cxnLst>
              <a:cxn ang="0">
                <a:pos x="0" y="1413"/>
              </a:cxn>
              <a:cxn ang="0">
                <a:pos x="165" y="1413"/>
              </a:cxn>
              <a:cxn ang="0">
                <a:pos x="165" y="945"/>
              </a:cxn>
              <a:cxn ang="0">
                <a:pos x="270" y="945"/>
              </a:cxn>
              <a:cxn ang="0">
                <a:pos x="270" y="1032"/>
              </a:cxn>
              <a:cxn ang="0">
                <a:pos x="468" y="705"/>
              </a:cxn>
              <a:cxn ang="0">
                <a:pos x="267" y="381"/>
              </a:cxn>
              <a:cxn ang="0">
                <a:pos x="267" y="468"/>
              </a:cxn>
              <a:cxn ang="0">
                <a:pos x="165" y="468"/>
              </a:cxn>
              <a:cxn ang="0">
                <a:pos x="165" y="0"/>
              </a:cxn>
              <a:cxn ang="0">
                <a:pos x="6" y="0"/>
              </a:cxn>
            </a:cxnLst>
            <a:rect l="0" t="0" r="r" b="b"/>
            <a:pathLst>
              <a:path w="468" h="1413">
                <a:moveTo>
                  <a:pt x="0" y="1413"/>
                </a:moveTo>
                <a:lnTo>
                  <a:pt x="165" y="1413"/>
                </a:lnTo>
                <a:lnTo>
                  <a:pt x="165" y="945"/>
                </a:lnTo>
                <a:lnTo>
                  <a:pt x="270" y="945"/>
                </a:lnTo>
                <a:lnTo>
                  <a:pt x="270" y="1032"/>
                </a:lnTo>
                <a:lnTo>
                  <a:pt x="468" y="705"/>
                </a:lnTo>
                <a:lnTo>
                  <a:pt x="267" y="381"/>
                </a:lnTo>
                <a:lnTo>
                  <a:pt x="267" y="468"/>
                </a:lnTo>
                <a:lnTo>
                  <a:pt x="165" y="468"/>
                </a:lnTo>
                <a:lnTo>
                  <a:pt x="165" y="0"/>
                </a:lnTo>
                <a:lnTo>
                  <a:pt x="6" y="0"/>
                </a:lnTo>
              </a:path>
            </a:pathLst>
          </a:custGeom>
          <a:noFill/>
          <a:ln w="9525" cap="flat" cmpd="sng">
            <a:solidFill>
              <a:schemeClr val="tx2"/>
            </a:solidFill>
            <a:prstDash val="solid"/>
            <a:round/>
            <a:headEnd type="none" w="sm" len="sm"/>
            <a:tailEnd type="none" w="sm" len="sm"/>
          </a:ln>
          <a:effectLst/>
        </p:spPr>
        <p:txBody>
          <a:bodyPr wrap="none" lIns="91424" tIns="45712" rIns="91424" bIns="45712" anchor="ctr">
            <a:prstTxWarp prst="textNoShape">
              <a:avLst/>
            </a:prstTxWarp>
          </a:bodyPr>
          <a:lstStyle/>
          <a:p>
            <a:endParaRPr lang="en-GB" dirty="0">
              <a:latin typeface="Garamond"/>
            </a:endParaRPr>
          </a:p>
        </p:txBody>
      </p:sp>
      <p:sp>
        <p:nvSpPr>
          <p:cNvPr id="56" name="Freeform 1883"/>
          <p:cNvSpPr>
            <a:spLocks/>
          </p:cNvSpPr>
          <p:nvPr>
            <p:custDataLst>
              <p:tags r:id="rId32"/>
            </p:custDataLst>
          </p:nvPr>
        </p:nvSpPr>
        <p:spPr bwMode="gray">
          <a:xfrm>
            <a:off x="3762211" y="3167325"/>
            <a:ext cx="774785" cy="459568"/>
          </a:xfrm>
          <a:custGeom>
            <a:avLst/>
            <a:gdLst/>
            <a:ahLst/>
            <a:cxnLst>
              <a:cxn ang="0">
                <a:pos x="0" y="32"/>
              </a:cxn>
              <a:cxn ang="0">
                <a:pos x="278" y="98"/>
              </a:cxn>
              <a:cxn ang="0">
                <a:pos x="263" y="0"/>
              </a:cxn>
              <a:cxn ang="0">
                <a:pos x="427" y="130"/>
              </a:cxn>
              <a:cxn ang="0">
                <a:pos x="263" y="260"/>
              </a:cxn>
              <a:cxn ang="0">
                <a:pos x="278" y="162"/>
              </a:cxn>
              <a:cxn ang="0">
                <a:pos x="0" y="228"/>
              </a:cxn>
              <a:cxn ang="0">
                <a:pos x="0" y="32"/>
              </a:cxn>
            </a:cxnLst>
            <a:rect l="0" t="0" r="r" b="b"/>
            <a:pathLst>
              <a:path w="428" h="261">
                <a:moveTo>
                  <a:pt x="0" y="32"/>
                </a:moveTo>
                <a:lnTo>
                  <a:pt x="278" y="98"/>
                </a:lnTo>
                <a:lnTo>
                  <a:pt x="263" y="0"/>
                </a:lnTo>
                <a:lnTo>
                  <a:pt x="427" y="130"/>
                </a:lnTo>
                <a:lnTo>
                  <a:pt x="263" y="260"/>
                </a:lnTo>
                <a:lnTo>
                  <a:pt x="278" y="162"/>
                </a:lnTo>
                <a:lnTo>
                  <a:pt x="0" y="228"/>
                </a:lnTo>
                <a:lnTo>
                  <a:pt x="0" y="32"/>
                </a:lnTo>
              </a:path>
            </a:pathLst>
          </a:custGeom>
          <a:solidFill>
            <a:schemeClr val="tx2"/>
          </a:solidFill>
          <a:ln w="9525" cap="rnd" cmpd="sng">
            <a:solidFill>
              <a:schemeClr val="bg1"/>
            </a:solidFill>
            <a:prstDash val="solid"/>
            <a:round/>
            <a:headEnd/>
            <a:tailEnd/>
          </a:ln>
          <a:effectLst/>
        </p:spPr>
        <p:txBody>
          <a:bodyPr lIns="91424" tIns="45712" rIns="91424" bIns="45712">
            <a:prstTxWarp prst="textNoShape">
              <a:avLst/>
            </a:prstTxWarp>
          </a:bodyPr>
          <a:lstStyle/>
          <a:p>
            <a:endParaRPr lang="en-GB" dirty="0">
              <a:latin typeface="Garamond"/>
            </a:endParaRPr>
          </a:p>
        </p:txBody>
      </p:sp>
      <p:sp>
        <p:nvSpPr>
          <p:cNvPr id="57" name="Freeform 1884"/>
          <p:cNvSpPr>
            <a:spLocks/>
          </p:cNvSpPr>
          <p:nvPr>
            <p:custDataLst>
              <p:tags r:id="rId33"/>
            </p:custDataLst>
          </p:nvPr>
        </p:nvSpPr>
        <p:spPr bwMode="gray">
          <a:xfrm>
            <a:off x="3762211" y="1570441"/>
            <a:ext cx="773312" cy="458096"/>
          </a:xfrm>
          <a:custGeom>
            <a:avLst/>
            <a:gdLst/>
            <a:ahLst/>
            <a:cxnLst>
              <a:cxn ang="0">
                <a:pos x="0" y="32"/>
              </a:cxn>
              <a:cxn ang="0">
                <a:pos x="278" y="98"/>
              </a:cxn>
              <a:cxn ang="0">
                <a:pos x="263" y="0"/>
              </a:cxn>
              <a:cxn ang="0">
                <a:pos x="427" y="130"/>
              </a:cxn>
              <a:cxn ang="0">
                <a:pos x="263" y="260"/>
              </a:cxn>
              <a:cxn ang="0">
                <a:pos x="278" y="162"/>
              </a:cxn>
              <a:cxn ang="0">
                <a:pos x="0" y="228"/>
              </a:cxn>
              <a:cxn ang="0">
                <a:pos x="81" y="130"/>
              </a:cxn>
              <a:cxn ang="0">
                <a:pos x="0" y="32"/>
              </a:cxn>
            </a:cxnLst>
            <a:rect l="0" t="0" r="r" b="b"/>
            <a:pathLst>
              <a:path w="428" h="261">
                <a:moveTo>
                  <a:pt x="0" y="32"/>
                </a:moveTo>
                <a:lnTo>
                  <a:pt x="278" y="98"/>
                </a:lnTo>
                <a:lnTo>
                  <a:pt x="263" y="0"/>
                </a:lnTo>
                <a:lnTo>
                  <a:pt x="427" y="130"/>
                </a:lnTo>
                <a:lnTo>
                  <a:pt x="263" y="260"/>
                </a:lnTo>
                <a:lnTo>
                  <a:pt x="278" y="162"/>
                </a:lnTo>
                <a:lnTo>
                  <a:pt x="0" y="228"/>
                </a:lnTo>
                <a:lnTo>
                  <a:pt x="81" y="130"/>
                </a:lnTo>
                <a:lnTo>
                  <a:pt x="0" y="32"/>
                </a:lnTo>
              </a:path>
            </a:pathLst>
          </a:custGeom>
          <a:solidFill>
            <a:schemeClr val="tx2"/>
          </a:solidFill>
          <a:ln w="9525" cap="rnd" cmpd="sng">
            <a:solidFill>
              <a:schemeClr val="bg1"/>
            </a:solidFill>
            <a:prstDash val="solid"/>
            <a:round/>
            <a:headEnd/>
            <a:tailEnd/>
          </a:ln>
          <a:effectLst/>
        </p:spPr>
        <p:txBody>
          <a:bodyPr lIns="91424" tIns="45712" rIns="91424" bIns="45712">
            <a:prstTxWarp prst="textNoShape">
              <a:avLst/>
            </a:prstTxWarp>
          </a:bodyPr>
          <a:lstStyle/>
          <a:p>
            <a:endParaRPr lang="en-GB" dirty="0">
              <a:latin typeface="Garamond"/>
            </a:endParaRPr>
          </a:p>
        </p:txBody>
      </p:sp>
      <p:sp>
        <p:nvSpPr>
          <p:cNvPr id="58" name="Freeform 1885"/>
          <p:cNvSpPr>
            <a:spLocks/>
          </p:cNvSpPr>
          <p:nvPr>
            <p:custDataLst>
              <p:tags r:id="rId34"/>
            </p:custDataLst>
          </p:nvPr>
        </p:nvSpPr>
        <p:spPr bwMode="gray">
          <a:xfrm>
            <a:off x="3925712" y="3960611"/>
            <a:ext cx="711447" cy="406542"/>
          </a:xfrm>
          <a:custGeom>
            <a:avLst/>
            <a:gdLst/>
            <a:ahLst/>
            <a:cxnLst>
              <a:cxn ang="0">
                <a:pos x="0" y="82"/>
              </a:cxn>
              <a:cxn ang="0">
                <a:pos x="229" y="82"/>
              </a:cxn>
              <a:cxn ang="0">
                <a:pos x="179" y="0"/>
              </a:cxn>
              <a:cxn ang="0">
                <a:pos x="392" y="115"/>
              </a:cxn>
              <a:cxn ang="0">
                <a:pos x="179" y="230"/>
              </a:cxn>
              <a:cxn ang="0">
                <a:pos x="229" y="147"/>
              </a:cxn>
              <a:cxn ang="0">
                <a:pos x="0" y="147"/>
              </a:cxn>
              <a:cxn ang="0">
                <a:pos x="0" y="82"/>
              </a:cxn>
            </a:cxnLst>
            <a:rect l="0" t="0" r="r" b="b"/>
            <a:pathLst>
              <a:path w="393" h="231">
                <a:moveTo>
                  <a:pt x="0" y="82"/>
                </a:moveTo>
                <a:lnTo>
                  <a:pt x="229" y="82"/>
                </a:lnTo>
                <a:lnTo>
                  <a:pt x="179" y="0"/>
                </a:lnTo>
                <a:lnTo>
                  <a:pt x="392" y="115"/>
                </a:lnTo>
                <a:lnTo>
                  <a:pt x="179" y="230"/>
                </a:lnTo>
                <a:lnTo>
                  <a:pt x="229" y="147"/>
                </a:lnTo>
                <a:lnTo>
                  <a:pt x="0" y="147"/>
                </a:lnTo>
                <a:lnTo>
                  <a:pt x="0" y="82"/>
                </a:lnTo>
              </a:path>
            </a:pathLst>
          </a:custGeom>
          <a:solidFill>
            <a:schemeClr val="tx2"/>
          </a:solidFill>
          <a:ln w="9525" cap="rnd" cmpd="sng">
            <a:solidFill>
              <a:schemeClr val="bg1"/>
            </a:solidFill>
            <a:prstDash val="solid"/>
            <a:round/>
            <a:headEnd/>
            <a:tailEnd/>
          </a:ln>
          <a:effectLst/>
        </p:spPr>
        <p:txBody>
          <a:bodyPr lIns="91424" tIns="45712" rIns="91424" bIns="45712">
            <a:prstTxWarp prst="textNoShape">
              <a:avLst/>
            </a:prstTxWarp>
          </a:bodyPr>
          <a:lstStyle/>
          <a:p>
            <a:endParaRPr lang="en-GB" dirty="0">
              <a:latin typeface="Garamond"/>
            </a:endParaRPr>
          </a:p>
        </p:txBody>
      </p:sp>
      <p:sp>
        <p:nvSpPr>
          <p:cNvPr id="59" name="Freeform 1886"/>
          <p:cNvSpPr>
            <a:spLocks/>
          </p:cNvSpPr>
          <p:nvPr>
            <p:custDataLst>
              <p:tags r:id="rId35"/>
            </p:custDataLst>
          </p:nvPr>
        </p:nvSpPr>
        <p:spPr bwMode="gray">
          <a:xfrm>
            <a:off x="3264345" y="2362255"/>
            <a:ext cx="1372814" cy="471353"/>
          </a:xfrm>
          <a:custGeom>
            <a:avLst/>
            <a:gdLst/>
            <a:ahLst/>
            <a:cxnLst>
              <a:cxn ang="0">
                <a:pos x="555" y="0"/>
              </a:cxn>
              <a:cxn ang="0">
                <a:pos x="757" y="134"/>
              </a:cxn>
              <a:cxn ang="0">
                <a:pos x="555" y="268"/>
              </a:cxn>
              <a:cxn ang="0">
                <a:pos x="555" y="201"/>
              </a:cxn>
              <a:cxn ang="0">
                <a:pos x="286" y="201"/>
              </a:cxn>
              <a:cxn ang="0">
                <a:pos x="202" y="268"/>
              </a:cxn>
              <a:cxn ang="0">
                <a:pos x="0" y="268"/>
              </a:cxn>
              <a:cxn ang="0">
                <a:pos x="118" y="134"/>
              </a:cxn>
              <a:cxn ang="0">
                <a:pos x="0" y="0"/>
              </a:cxn>
              <a:cxn ang="0">
                <a:pos x="185" y="0"/>
              </a:cxn>
              <a:cxn ang="0">
                <a:pos x="269" y="67"/>
              </a:cxn>
              <a:cxn ang="0">
                <a:pos x="555" y="67"/>
              </a:cxn>
              <a:cxn ang="0">
                <a:pos x="555" y="0"/>
              </a:cxn>
            </a:cxnLst>
            <a:rect l="0" t="0" r="r" b="b"/>
            <a:pathLst>
              <a:path w="758" h="269">
                <a:moveTo>
                  <a:pt x="555" y="0"/>
                </a:moveTo>
                <a:lnTo>
                  <a:pt x="757" y="134"/>
                </a:lnTo>
                <a:lnTo>
                  <a:pt x="555" y="268"/>
                </a:lnTo>
                <a:lnTo>
                  <a:pt x="555" y="201"/>
                </a:lnTo>
                <a:lnTo>
                  <a:pt x="286" y="201"/>
                </a:lnTo>
                <a:lnTo>
                  <a:pt x="202" y="268"/>
                </a:lnTo>
                <a:lnTo>
                  <a:pt x="0" y="268"/>
                </a:lnTo>
                <a:lnTo>
                  <a:pt x="118" y="134"/>
                </a:lnTo>
                <a:lnTo>
                  <a:pt x="0" y="0"/>
                </a:lnTo>
                <a:lnTo>
                  <a:pt x="185" y="0"/>
                </a:lnTo>
                <a:lnTo>
                  <a:pt x="269" y="67"/>
                </a:lnTo>
                <a:lnTo>
                  <a:pt x="555" y="67"/>
                </a:lnTo>
                <a:lnTo>
                  <a:pt x="555" y="0"/>
                </a:lnTo>
              </a:path>
            </a:pathLst>
          </a:custGeom>
          <a:solidFill>
            <a:schemeClr val="tx2"/>
          </a:solidFill>
          <a:ln w="9525" cap="rnd" cmpd="sng">
            <a:solidFill>
              <a:schemeClr val="bg1"/>
            </a:solidFill>
            <a:prstDash val="solid"/>
            <a:round/>
            <a:headEnd/>
            <a:tailEnd/>
          </a:ln>
          <a:effectLst/>
        </p:spPr>
        <p:txBody>
          <a:bodyPr lIns="91424" tIns="45712" rIns="91424" bIns="45712">
            <a:prstTxWarp prst="textNoShape">
              <a:avLst/>
            </a:prstTxWarp>
          </a:bodyPr>
          <a:lstStyle/>
          <a:p>
            <a:endParaRPr lang="en-GB" dirty="0">
              <a:latin typeface="Garamond"/>
            </a:endParaRPr>
          </a:p>
        </p:txBody>
      </p:sp>
      <p:sp>
        <p:nvSpPr>
          <p:cNvPr id="61" name="Freeform 1888"/>
          <p:cNvSpPr>
            <a:spLocks/>
          </p:cNvSpPr>
          <p:nvPr>
            <p:custDataLst>
              <p:tags r:id="rId36"/>
            </p:custDataLst>
          </p:nvPr>
        </p:nvSpPr>
        <p:spPr bwMode="gray">
          <a:xfrm>
            <a:off x="1044571" y="1482064"/>
            <a:ext cx="1001623" cy="1253503"/>
          </a:xfrm>
          <a:custGeom>
            <a:avLst/>
            <a:gdLst/>
            <a:ahLst/>
            <a:cxnLst>
              <a:cxn ang="0">
                <a:pos x="0" y="1567"/>
              </a:cxn>
              <a:cxn ang="0">
                <a:pos x="36" y="1528"/>
              </a:cxn>
              <a:cxn ang="0">
                <a:pos x="118" y="1443"/>
              </a:cxn>
              <a:cxn ang="0">
                <a:pos x="219" y="1361"/>
              </a:cxn>
              <a:cxn ang="0">
                <a:pos x="335" y="1280"/>
              </a:cxn>
              <a:cxn ang="0">
                <a:pos x="459" y="1206"/>
              </a:cxn>
              <a:cxn ang="0">
                <a:pos x="591" y="1140"/>
              </a:cxn>
              <a:cxn ang="0">
                <a:pos x="722" y="1087"/>
              </a:cxn>
              <a:cxn ang="0">
                <a:pos x="853" y="1046"/>
              </a:cxn>
              <a:cxn ang="0">
                <a:pos x="930" y="1030"/>
              </a:cxn>
              <a:cxn ang="0">
                <a:pos x="1213" y="783"/>
              </a:cxn>
              <a:cxn ang="0">
                <a:pos x="930" y="535"/>
              </a:cxn>
              <a:cxn ang="0">
                <a:pos x="806" y="505"/>
              </a:cxn>
              <a:cxn ang="0">
                <a:pos x="673" y="457"/>
              </a:cxn>
              <a:cxn ang="0">
                <a:pos x="540" y="397"/>
              </a:cxn>
              <a:cxn ang="0">
                <a:pos x="407" y="328"/>
              </a:cxn>
              <a:cxn ang="0">
                <a:pos x="283" y="251"/>
              </a:cxn>
              <a:cxn ang="0">
                <a:pos x="173" y="166"/>
              </a:cxn>
              <a:cxn ang="0">
                <a:pos x="79" y="82"/>
              </a:cxn>
              <a:cxn ang="0">
                <a:pos x="6" y="0"/>
              </a:cxn>
              <a:cxn ang="0">
                <a:pos x="0" y="546"/>
              </a:cxn>
              <a:cxn ang="0">
                <a:pos x="67" y="600"/>
              </a:cxn>
              <a:cxn ang="0">
                <a:pos x="154" y="650"/>
              </a:cxn>
              <a:cxn ang="0">
                <a:pos x="255" y="695"/>
              </a:cxn>
              <a:cxn ang="0">
                <a:pos x="360" y="733"/>
              </a:cxn>
              <a:cxn ang="0">
                <a:pos x="469" y="763"/>
              </a:cxn>
              <a:cxn ang="0">
                <a:pos x="571" y="779"/>
              </a:cxn>
              <a:cxn ang="0">
                <a:pos x="571" y="788"/>
              </a:cxn>
              <a:cxn ang="0">
                <a:pos x="469" y="804"/>
              </a:cxn>
              <a:cxn ang="0">
                <a:pos x="360" y="834"/>
              </a:cxn>
              <a:cxn ang="0">
                <a:pos x="255" y="872"/>
              </a:cxn>
              <a:cxn ang="0">
                <a:pos x="154" y="917"/>
              </a:cxn>
              <a:cxn ang="0">
                <a:pos x="67" y="967"/>
              </a:cxn>
              <a:cxn ang="0">
                <a:pos x="0" y="1019"/>
              </a:cxn>
            </a:cxnLst>
            <a:rect l="0" t="0" r="r" b="b"/>
            <a:pathLst>
              <a:path w="1214" h="1568">
                <a:moveTo>
                  <a:pt x="0" y="1019"/>
                </a:moveTo>
                <a:lnTo>
                  <a:pt x="0" y="1567"/>
                </a:lnTo>
                <a:lnTo>
                  <a:pt x="2" y="1567"/>
                </a:lnTo>
                <a:lnTo>
                  <a:pt x="36" y="1528"/>
                </a:lnTo>
                <a:lnTo>
                  <a:pt x="75" y="1485"/>
                </a:lnTo>
                <a:lnTo>
                  <a:pt x="118" y="1443"/>
                </a:lnTo>
                <a:lnTo>
                  <a:pt x="165" y="1402"/>
                </a:lnTo>
                <a:lnTo>
                  <a:pt x="219" y="1361"/>
                </a:lnTo>
                <a:lnTo>
                  <a:pt x="276" y="1320"/>
                </a:lnTo>
                <a:lnTo>
                  <a:pt x="335" y="1280"/>
                </a:lnTo>
                <a:lnTo>
                  <a:pt x="396" y="1243"/>
                </a:lnTo>
                <a:lnTo>
                  <a:pt x="459" y="1206"/>
                </a:lnTo>
                <a:lnTo>
                  <a:pt x="525" y="1171"/>
                </a:lnTo>
                <a:lnTo>
                  <a:pt x="591" y="1140"/>
                </a:lnTo>
                <a:lnTo>
                  <a:pt x="658" y="1112"/>
                </a:lnTo>
                <a:lnTo>
                  <a:pt x="722" y="1087"/>
                </a:lnTo>
                <a:lnTo>
                  <a:pt x="788" y="1064"/>
                </a:lnTo>
                <a:lnTo>
                  <a:pt x="853" y="1046"/>
                </a:lnTo>
                <a:lnTo>
                  <a:pt x="913" y="1030"/>
                </a:lnTo>
                <a:lnTo>
                  <a:pt x="930" y="1030"/>
                </a:lnTo>
                <a:lnTo>
                  <a:pt x="930" y="1159"/>
                </a:lnTo>
                <a:lnTo>
                  <a:pt x="1213" y="783"/>
                </a:lnTo>
                <a:lnTo>
                  <a:pt x="930" y="408"/>
                </a:lnTo>
                <a:lnTo>
                  <a:pt x="930" y="535"/>
                </a:lnTo>
                <a:lnTo>
                  <a:pt x="868" y="523"/>
                </a:lnTo>
                <a:lnTo>
                  <a:pt x="806" y="505"/>
                </a:lnTo>
                <a:lnTo>
                  <a:pt x="740" y="483"/>
                </a:lnTo>
                <a:lnTo>
                  <a:pt x="673" y="457"/>
                </a:lnTo>
                <a:lnTo>
                  <a:pt x="607" y="428"/>
                </a:lnTo>
                <a:lnTo>
                  <a:pt x="540" y="397"/>
                </a:lnTo>
                <a:lnTo>
                  <a:pt x="473" y="364"/>
                </a:lnTo>
                <a:lnTo>
                  <a:pt x="407" y="328"/>
                </a:lnTo>
                <a:lnTo>
                  <a:pt x="345" y="290"/>
                </a:lnTo>
                <a:lnTo>
                  <a:pt x="283" y="251"/>
                </a:lnTo>
                <a:lnTo>
                  <a:pt x="227" y="209"/>
                </a:lnTo>
                <a:lnTo>
                  <a:pt x="173" y="166"/>
                </a:lnTo>
                <a:lnTo>
                  <a:pt x="124" y="125"/>
                </a:lnTo>
                <a:lnTo>
                  <a:pt x="79" y="82"/>
                </a:lnTo>
                <a:lnTo>
                  <a:pt x="39" y="41"/>
                </a:lnTo>
                <a:lnTo>
                  <a:pt x="6" y="0"/>
                </a:lnTo>
                <a:lnTo>
                  <a:pt x="0" y="0"/>
                </a:lnTo>
                <a:lnTo>
                  <a:pt x="0" y="546"/>
                </a:lnTo>
                <a:lnTo>
                  <a:pt x="32" y="573"/>
                </a:lnTo>
                <a:lnTo>
                  <a:pt x="67" y="600"/>
                </a:lnTo>
                <a:lnTo>
                  <a:pt x="109" y="625"/>
                </a:lnTo>
                <a:lnTo>
                  <a:pt x="154" y="650"/>
                </a:lnTo>
                <a:lnTo>
                  <a:pt x="203" y="674"/>
                </a:lnTo>
                <a:lnTo>
                  <a:pt x="255" y="695"/>
                </a:lnTo>
                <a:lnTo>
                  <a:pt x="307" y="715"/>
                </a:lnTo>
                <a:lnTo>
                  <a:pt x="360" y="733"/>
                </a:lnTo>
                <a:lnTo>
                  <a:pt x="414" y="750"/>
                </a:lnTo>
                <a:lnTo>
                  <a:pt x="469" y="763"/>
                </a:lnTo>
                <a:lnTo>
                  <a:pt x="520" y="773"/>
                </a:lnTo>
                <a:lnTo>
                  <a:pt x="571" y="779"/>
                </a:lnTo>
                <a:lnTo>
                  <a:pt x="619" y="783"/>
                </a:lnTo>
                <a:lnTo>
                  <a:pt x="571" y="788"/>
                </a:lnTo>
                <a:lnTo>
                  <a:pt x="520" y="794"/>
                </a:lnTo>
                <a:lnTo>
                  <a:pt x="469" y="804"/>
                </a:lnTo>
                <a:lnTo>
                  <a:pt x="414" y="817"/>
                </a:lnTo>
                <a:lnTo>
                  <a:pt x="360" y="834"/>
                </a:lnTo>
                <a:lnTo>
                  <a:pt x="307" y="850"/>
                </a:lnTo>
                <a:lnTo>
                  <a:pt x="255" y="872"/>
                </a:lnTo>
                <a:lnTo>
                  <a:pt x="203" y="893"/>
                </a:lnTo>
                <a:lnTo>
                  <a:pt x="154" y="917"/>
                </a:lnTo>
                <a:lnTo>
                  <a:pt x="109" y="942"/>
                </a:lnTo>
                <a:lnTo>
                  <a:pt x="67" y="967"/>
                </a:lnTo>
                <a:lnTo>
                  <a:pt x="32" y="994"/>
                </a:lnTo>
                <a:lnTo>
                  <a:pt x="0" y="1019"/>
                </a:lnTo>
              </a:path>
            </a:pathLst>
          </a:custGeom>
          <a:solidFill>
            <a:schemeClr val="tx2"/>
          </a:solidFill>
          <a:ln w="9525" cap="rnd" cmpd="sng">
            <a:solidFill>
              <a:schemeClr val="bg1"/>
            </a:solidFill>
            <a:prstDash val="solid"/>
            <a:round/>
            <a:headEnd/>
            <a:tailEnd/>
          </a:ln>
          <a:effectLst/>
        </p:spPr>
        <p:txBody>
          <a:bodyPr lIns="91424" tIns="45712" rIns="91424" bIns="45712">
            <a:prstTxWarp prst="textNoShape">
              <a:avLst/>
            </a:prstTxWarp>
          </a:bodyPr>
          <a:lstStyle/>
          <a:p>
            <a:endParaRPr lang="en-GB" dirty="0">
              <a:latin typeface="Garamond"/>
            </a:endParaRPr>
          </a:p>
        </p:txBody>
      </p:sp>
      <p:sp>
        <p:nvSpPr>
          <p:cNvPr id="62" name="Freeform 1889"/>
          <p:cNvSpPr>
            <a:spLocks/>
          </p:cNvSpPr>
          <p:nvPr>
            <p:custDataLst>
              <p:tags r:id="rId37"/>
            </p:custDataLst>
          </p:nvPr>
        </p:nvSpPr>
        <p:spPr bwMode="gray">
          <a:xfrm>
            <a:off x="2267141" y="1570441"/>
            <a:ext cx="817501" cy="1165125"/>
          </a:xfrm>
          <a:custGeom>
            <a:avLst/>
            <a:gdLst/>
            <a:ahLst/>
            <a:cxnLst>
              <a:cxn ang="0">
                <a:pos x="225" y="0"/>
              </a:cxn>
              <a:cxn ang="0">
                <a:pos x="0" y="279"/>
              </a:cxn>
              <a:cxn ang="0">
                <a:pos x="225" y="560"/>
              </a:cxn>
              <a:cxn ang="0">
                <a:pos x="225" y="405"/>
              </a:cxn>
              <a:cxn ang="0">
                <a:pos x="264" y="409"/>
              </a:cxn>
              <a:cxn ang="0">
                <a:pos x="303" y="416"/>
              </a:cxn>
              <a:cxn ang="0">
                <a:pos x="341" y="428"/>
              </a:cxn>
              <a:cxn ang="0">
                <a:pos x="378" y="443"/>
              </a:cxn>
              <a:cxn ang="0">
                <a:pos x="414" y="461"/>
              </a:cxn>
              <a:cxn ang="0">
                <a:pos x="449" y="485"/>
              </a:cxn>
              <a:cxn ang="0">
                <a:pos x="483" y="511"/>
              </a:cxn>
              <a:cxn ang="0">
                <a:pos x="514" y="541"/>
              </a:cxn>
              <a:cxn ang="0">
                <a:pos x="543" y="574"/>
              </a:cxn>
              <a:cxn ang="0">
                <a:pos x="571" y="609"/>
              </a:cxn>
              <a:cxn ang="0">
                <a:pos x="596" y="648"/>
              </a:cxn>
              <a:cxn ang="0">
                <a:pos x="619" y="689"/>
              </a:cxn>
              <a:cxn ang="0">
                <a:pos x="638" y="732"/>
              </a:cxn>
              <a:cxn ang="0">
                <a:pos x="655" y="778"/>
              </a:cxn>
              <a:cxn ang="0">
                <a:pos x="669" y="825"/>
              </a:cxn>
              <a:cxn ang="0">
                <a:pos x="681" y="873"/>
              </a:cxn>
              <a:cxn ang="0">
                <a:pos x="689" y="922"/>
              </a:cxn>
              <a:cxn ang="0">
                <a:pos x="694" y="972"/>
              </a:cxn>
              <a:cxn ang="0">
                <a:pos x="696" y="1023"/>
              </a:cxn>
              <a:cxn ang="0">
                <a:pos x="695" y="963"/>
              </a:cxn>
              <a:cxn ang="0">
                <a:pos x="692" y="904"/>
              </a:cxn>
              <a:cxn ang="0">
                <a:pos x="687" y="846"/>
              </a:cxn>
              <a:cxn ang="0">
                <a:pos x="679" y="788"/>
              </a:cxn>
              <a:cxn ang="0">
                <a:pos x="669" y="732"/>
              </a:cxn>
              <a:cxn ang="0">
                <a:pos x="658" y="677"/>
              </a:cxn>
              <a:cxn ang="0">
                <a:pos x="643" y="623"/>
              </a:cxn>
              <a:cxn ang="0">
                <a:pos x="628" y="571"/>
              </a:cxn>
              <a:cxn ang="0">
                <a:pos x="610" y="522"/>
              </a:cxn>
              <a:cxn ang="0">
                <a:pos x="591" y="474"/>
              </a:cxn>
              <a:cxn ang="0">
                <a:pos x="570" y="429"/>
              </a:cxn>
              <a:cxn ang="0">
                <a:pos x="547" y="387"/>
              </a:cxn>
              <a:cxn ang="0">
                <a:pos x="524" y="348"/>
              </a:cxn>
              <a:cxn ang="0">
                <a:pos x="498" y="311"/>
              </a:cxn>
              <a:cxn ang="0">
                <a:pos x="471" y="278"/>
              </a:cxn>
              <a:cxn ang="0">
                <a:pos x="443" y="248"/>
              </a:cxn>
              <a:cxn ang="0">
                <a:pos x="413" y="222"/>
              </a:cxn>
              <a:cxn ang="0">
                <a:pos x="384" y="199"/>
              </a:cxn>
              <a:cxn ang="0">
                <a:pos x="353" y="180"/>
              </a:cxn>
              <a:cxn ang="0">
                <a:pos x="322" y="165"/>
              </a:cxn>
              <a:cxn ang="0">
                <a:pos x="290" y="154"/>
              </a:cxn>
              <a:cxn ang="0">
                <a:pos x="258" y="146"/>
              </a:cxn>
              <a:cxn ang="0">
                <a:pos x="225" y="142"/>
              </a:cxn>
              <a:cxn ang="0">
                <a:pos x="225" y="0"/>
              </a:cxn>
            </a:cxnLst>
            <a:rect l="0" t="0" r="r" b="b"/>
            <a:pathLst>
              <a:path w="697" h="1024">
                <a:moveTo>
                  <a:pt x="225" y="0"/>
                </a:moveTo>
                <a:lnTo>
                  <a:pt x="0" y="279"/>
                </a:lnTo>
                <a:lnTo>
                  <a:pt x="225" y="560"/>
                </a:lnTo>
                <a:lnTo>
                  <a:pt x="225" y="405"/>
                </a:lnTo>
                <a:lnTo>
                  <a:pt x="264" y="409"/>
                </a:lnTo>
                <a:lnTo>
                  <a:pt x="303" y="416"/>
                </a:lnTo>
                <a:lnTo>
                  <a:pt x="341" y="428"/>
                </a:lnTo>
                <a:lnTo>
                  <a:pt x="378" y="443"/>
                </a:lnTo>
                <a:lnTo>
                  <a:pt x="414" y="461"/>
                </a:lnTo>
                <a:lnTo>
                  <a:pt x="449" y="485"/>
                </a:lnTo>
                <a:lnTo>
                  <a:pt x="483" y="511"/>
                </a:lnTo>
                <a:lnTo>
                  <a:pt x="514" y="541"/>
                </a:lnTo>
                <a:lnTo>
                  <a:pt x="543" y="574"/>
                </a:lnTo>
                <a:lnTo>
                  <a:pt x="571" y="609"/>
                </a:lnTo>
                <a:lnTo>
                  <a:pt x="596" y="648"/>
                </a:lnTo>
                <a:lnTo>
                  <a:pt x="619" y="689"/>
                </a:lnTo>
                <a:lnTo>
                  <a:pt x="638" y="732"/>
                </a:lnTo>
                <a:lnTo>
                  <a:pt x="655" y="778"/>
                </a:lnTo>
                <a:lnTo>
                  <a:pt x="669" y="825"/>
                </a:lnTo>
                <a:lnTo>
                  <a:pt x="681" y="873"/>
                </a:lnTo>
                <a:lnTo>
                  <a:pt x="689" y="922"/>
                </a:lnTo>
                <a:lnTo>
                  <a:pt x="694" y="972"/>
                </a:lnTo>
                <a:lnTo>
                  <a:pt x="696" y="1023"/>
                </a:lnTo>
                <a:lnTo>
                  <a:pt x="695" y="963"/>
                </a:lnTo>
                <a:lnTo>
                  <a:pt x="692" y="904"/>
                </a:lnTo>
                <a:lnTo>
                  <a:pt x="687" y="846"/>
                </a:lnTo>
                <a:lnTo>
                  <a:pt x="679" y="788"/>
                </a:lnTo>
                <a:lnTo>
                  <a:pt x="669" y="732"/>
                </a:lnTo>
                <a:lnTo>
                  <a:pt x="658" y="677"/>
                </a:lnTo>
                <a:lnTo>
                  <a:pt x="643" y="623"/>
                </a:lnTo>
                <a:lnTo>
                  <a:pt x="628" y="571"/>
                </a:lnTo>
                <a:lnTo>
                  <a:pt x="610" y="522"/>
                </a:lnTo>
                <a:lnTo>
                  <a:pt x="591" y="474"/>
                </a:lnTo>
                <a:lnTo>
                  <a:pt x="570" y="429"/>
                </a:lnTo>
                <a:lnTo>
                  <a:pt x="547" y="387"/>
                </a:lnTo>
                <a:lnTo>
                  <a:pt x="524" y="348"/>
                </a:lnTo>
                <a:lnTo>
                  <a:pt x="498" y="311"/>
                </a:lnTo>
                <a:lnTo>
                  <a:pt x="471" y="278"/>
                </a:lnTo>
                <a:lnTo>
                  <a:pt x="443" y="248"/>
                </a:lnTo>
                <a:lnTo>
                  <a:pt x="413" y="222"/>
                </a:lnTo>
                <a:lnTo>
                  <a:pt x="384" y="199"/>
                </a:lnTo>
                <a:lnTo>
                  <a:pt x="353" y="180"/>
                </a:lnTo>
                <a:lnTo>
                  <a:pt x="322" y="165"/>
                </a:lnTo>
                <a:lnTo>
                  <a:pt x="290" y="154"/>
                </a:lnTo>
                <a:lnTo>
                  <a:pt x="258" y="146"/>
                </a:lnTo>
                <a:lnTo>
                  <a:pt x="225" y="142"/>
                </a:lnTo>
                <a:lnTo>
                  <a:pt x="225" y="0"/>
                </a:lnTo>
              </a:path>
            </a:pathLst>
          </a:custGeom>
          <a:solidFill>
            <a:schemeClr val="tx2"/>
          </a:solidFill>
          <a:ln w="9525" cap="rnd" cmpd="sng">
            <a:solidFill>
              <a:schemeClr val="bg1"/>
            </a:solidFill>
            <a:prstDash val="solid"/>
            <a:round/>
            <a:headEnd/>
            <a:tailEnd/>
          </a:ln>
          <a:effectLst/>
        </p:spPr>
        <p:txBody>
          <a:bodyPr lIns="91424" tIns="45712" rIns="91424" bIns="45712">
            <a:prstTxWarp prst="textNoShape">
              <a:avLst/>
            </a:prstTxWarp>
          </a:bodyPr>
          <a:lstStyle/>
          <a:p>
            <a:endParaRPr lang="en-GB" dirty="0">
              <a:latin typeface="Garamond"/>
            </a:endParaRPr>
          </a:p>
        </p:txBody>
      </p:sp>
      <p:sp>
        <p:nvSpPr>
          <p:cNvPr id="63" name="Freeform 1890"/>
          <p:cNvSpPr>
            <a:spLocks/>
          </p:cNvSpPr>
          <p:nvPr>
            <p:custDataLst>
              <p:tags r:id="rId38"/>
            </p:custDataLst>
          </p:nvPr>
        </p:nvSpPr>
        <p:spPr bwMode="gray">
          <a:xfrm flipV="1">
            <a:off x="2342262" y="3598881"/>
            <a:ext cx="1196057" cy="570041"/>
          </a:xfrm>
          <a:custGeom>
            <a:avLst/>
            <a:gdLst/>
            <a:ahLst/>
            <a:cxnLst>
              <a:cxn ang="0">
                <a:pos x="1076" y="170"/>
              </a:cxn>
              <a:cxn ang="0">
                <a:pos x="1212" y="170"/>
              </a:cxn>
              <a:cxn ang="0">
                <a:pos x="981" y="0"/>
              </a:cxn>
              <a:cxn ang="0">
                <a:pos x="753" y="170"/>
              </a:cxn>
              <a:cxn ang="0">
                <a:pos x="900" y="170"/>
              </a:cxn>
              <a:cxn ang="0">
                <a:pos x="880" y="230"/>
              </a:cxn>
              <a:cxn ang="0">
                <a:pos x="848" y="282"/>
              </a:cxn>
              <a:cxn ang="0">
                <a:pos x="814" y="331"/>
              </a:cxn>
              <a:cxn ang="0">
                <a:pos x="773" y="369"/>
              </a:cxn>
              <a:cxn ang="0">
                <a:pos x="730" y="400"/>
              </a:cxn>
              <a:cxn ang="0">
                <a:pos x="681" y="420"/>
              </a:cxn>
              <a:cxn ang="0">
                <a:pos x="632" y="432"/>
              </a:cxn>
              <a:cxn ang="0">
                <a:pos x="580" y="432"/>
              </a:cxn>
              <a:cxn ang="0">
                <a:pos x="531" y="420"/>
              </a:cxn>
              <a:cxn ang="0">
                <a:pos x="482" y="400"/>
              </a:cxn>
              <a:cxn ang="0">
                <a:pos x="436" y="369"/>
              </a:cxn>
              <a:cxn ang="0">
                <a:pos x="395" y="331"/>
              </a:cxn>
              <a:cxn ang="0">
                <a:pos x="361" y="282"/>
              </a:cxn>
              <a:cxn ang="0">
                <a:pos x="332" y="230"/>
              </a:cxn>
              <a:cxn ang="0">
                <a:pos x="309" y="170"/>
              </a:cxn>
              <a:cxn ang="0">
                <a:pos x="459" y="170"/>
              </a:cxn>
              <a:cxn ang="0">
                <a:pos x="231" y="0"/>
              </a:cxn>
              <a:cxn ang="0">
                <a:pos x="0" y="170"/>
              </a:cxn>
              <a:cxn ang="0">
                <a:pos x="136" y="170"/>
              </a:cxn>
              <a:cxn ang="0">
                <a:pos x="159" y="248"/>
              </a:cxn>
              <a:cxn ang="0">
                <a:pos x="191" y="317"/>
              </a:cxn>
              <a:cxn ang="0">
                <a:pos x="228" y="383"/>
              </a:cxn>
              <a:cxn ang="0">
                <a:pos x="274" y="440"/>
              </a:cxn>
              <a:cxn ang="0">
                <a:pos x="326" y="492"/>
              </a:cxn>
              <a:cxn ang="0">
                <a:pos x="381" y="533"/>
              </a:cxn>
              <a:cxn ang="0">
                <a:pos x="442" y="564"/>
              </a:cxn>
              <a:cxn ang="0">
                <a:pos x="508" y="584"/>
              </a:cxn>
              <a:cxn ang="0">
                <a:pos x="571" y="596"/>
              </a:cxn>
              <a:cxn ang="0">
                <a:pos x="638" y="596"/>
              </a:cxn>
              <a:cxn ang="0">
                <a:pos x="704" y="584"/>
              </a:cxn>
              <a:cxn ang="0">
                <a:pos x="768" y="564"/>
              </a:cxn>
              <a:cxn ang="0">
                <a:pos x="828" y="533"/>
              </a:cxn>
              <a:cxn ang="0">
                <a:pos x="886" y="492"/>
              </a:cxn>
              <a:cxn ang="0">
                <a:pos x="938" y="440"/>
              </a:cxn>
              <a:cxn ang="0">
                <a:pos x="984" y="383"/>
              </a:cxn>
              <a:cxn ang="0">
                <a:pos x="1021" y="317"/>
              </a:cxn>
              <a:cxn ang="0">
                <a:pos x="1053" y="248"/>
              </a:cxn>
              <a:cxn ang="0">
                <a:pos x="1076" y="170"/>
              </a:cxn>
            </a:cxnLst>
            <a:rect l="0" t="0" r="r" b="b"/>
            <a:pathLst>
              <a:path w="1213" h="597">
                <a:moveTo>
                  <a:pt x="1076" y="170"/>
                </a:moveTo>
                <a:lnTo>
                  <a:pt x="1212" y="170"/>
                </a:lnTo>
                <a:lnTo>
                  <a:pt x="981" y="0"/>
                </a:lnTo>
                <a:lnTo>
                  <a:pt x="753" y="170"/>
                </a:lnTo>
                <a:lnTo>
                  <a:pt x="900" y="170"/>
                </a:lnTo>
                <a:lnTo>
                  <a:pt x="880" y="230"/>
                </a:lnTo>
                <a:lnTo>
                  <a:pt x="848" y="282"/>
                </a:lnTo>
                <a:lnTo>
                  <a:pt x="814" y="331"/>
                </a:lnTo>
                <a:lnTo>
                  <a:pt x="773" y="369"/>
                </a:lnTo>
                <a:lnTo>
                  <a:pt x="730" y="400"/>
                </a:lnTo>
                <a:lnTo>
                  <a:pt x="681" y="420"/>
                </a:lnTo>
                <a:lnTo>
                  <a:pt x="632" y="432"/>
                </a:lnTo>
                <a:lnTo>
                  <a:pt x="580" y="432"/>
                </a:lnTo>
                <a:lnTo>
                  <a:pt x="531" y="420"/>
                </a:lnTo>
                <a:lnTo>
                  <a:pt x="482" y="400"/>
                </a:lnTo>
                <a:lnTo>
                  <a:pt x="436" y="369"/>
                </a:lnTo>
                <a:lnTo>
                  <a:pt x="395" y="331"/>
                </a:lnTo>
                <a:lnTo>
                  <a:pt x="361" y="282"/>
                </a:lnTo>
                <a:lnTo>
                  <a:pt x="332" y="230"/>
                </a:lnTo>
                <a:lnTo>
                  <a:pt x="309" y="170"/>
                </a:lnTo>
                <a:lnTo>
                  <a:pt x="459" y="170"/>
                </a:lnTo>
                <a:lnTo>
                  <a:pt x="231" y="0"/>
                </a:lnTo>
                <a:lnTo>
                  <a:pt x="0" y="170"/>
                </a:lnTo>
                <a:lnTo>
                  <a:pt x="136" y="170"/>
                </a:lnTo>
                <a:lnTo>
                  <a:pt x="159" y="248"/>
                </a:lnTo>
                <a:lnTo>
                  <a:pt x="191" y="317"/>
                </a:lnTo>
                <a:lnTo>
                  <a:pt x="228" y="383"/>
                </a:lnTo>
                <a:lnTo>
                  <a:pt x="274" y="440"/>
                </a:lnTo>
                <a:lnTo>
                  <a:pt x="326" y="492"/>
                </a:lnTo>
                <a:lnTo>
                  <a:pt x="381" y="533"/>
                </a:lnTo>
                <a:lnTo>
                  <a:pt x="442" y="564"/>
                </a:lnTo>
                <a:lnTo>
                  <a:pt x="508" y="584"/>
                </a:lnTo>
                <a:lnTo>
                  <a:pt x="571" y="596"/>
                </a:lnTo>
                <a:lnTo>
                  <a:pt x="638" y="596"/>
                </a:lnTo>
                <a:lnTo>
                  <a:pt x="704" y="584"/>
                </a:lnTo>
                <a:lnTo>
                  <a:pt x="768" y="564"/>
                </a:lnTo>
                <a:lnTo>
                  <a:pt x="828" y="533"/>
                </a:lnTo>
                <a:lnTo>
                  <a:pt x="886" y="492"/>
                </a:lnTo>
                <a:lnTo>
                  <a:pt x="938" y="440"/>
                </a:lnTo>
                <a:lnTo>
                  <a:pt x="984" y="383"/>
                </a:lnTo>
                <a:lnTo>
                  <a:pt x="1021" y="317"/>
                </a:lnTo>
                <a:lnTo>
                  <a:pt x="1053" y="248"/>
                </a:lnTo>
                <a:lnTo>
                  <a:pt x="1076" y="170"/>
                </a:lnTo>
              </a:path>
            </a:pathLst>
          </a:custGeom>
          <a:solidFill>
            <a:schemeClr val="tx2"/>
          </a:solidFill>
          <a:ln w="9525" cap="rnd" cmpd="sng">
            <a:solidFill>
              <a:schemeClr val="bg1"/>
            </a:solidFill>
            <a:prstDash val="solid"/>
            <a:round/>
            <a:headEnd/>
            <a:tailEnd/>
          </a:ln>
          <a:effectLst/>
        </p:spPr>
        <p:txBody>
          <a:bodyPr lIns="91424" tIns="45712" rIns="91424" bIns="45712">
            <a:prstTxWarp prst="textNoShape">
              <a:avLst/>
            </a:prstTxWarp>
          </a:bodyPr>
          <a:lstStyle/>
          <a:p>
            <a:endParaRPr lang="en-GB" dirty="0">
              <a:latin typeface="Garamond"/>
            </a:endParaRPr>
          </a:p>
        </p:txBody>
      </p:sp>
      <p:sp>
        <p:nvSpPr>
          <p:cNvPr id="100" name="Freeform 1892"/>
          <p:cNvSpPr>
            <a:spLocks/>
          </p:cNvSpPr>
          <p:nvPr/>
        </p:nvSpPr>
        <p:spPr bwMode="gray">
          <a:xfrm flipH="1">
            <a:off x="1530089" y="2858642"/>
            <a:ext cx="611645" cy="581826"/>
          </a:xfrm>
          <a:custGeom>
            <a:avLst/>
            <a:gdLst/>
            <a:ahLst/>
            <a:cxnLst>
              <a:cxn ang="0">
                <a:pos x="186" y="589"/>
              </a:cxn>
              <a:cxn ang="0">
                <a:pos x="232" y="583"/>
              </a:cxn>
              <a:cxn ang="0">
                <a:pos x="270" y="574"/>
              </a:cxn>
              <a:cxn ang="0">
                <a:pos x="307" y="561"/>
              </a:cxn>
              <a:cxn ang="0">
                <a:pos x="352" y="541"/>
              </a:cxn>
              <a:cxn ang="0">
                <a:pos x="390" y="518"/>
              </a:cxn>
              <a:cxn ang="0">
                <a:pos x="418" y="496"/>
              </a:cxn>
              <a:cxn ang="0">
                <a:pos x="440" y="473"/>
              </a:cxn>
              <a:cxn ang="0">
                <a:pos x="460" y="448"/>
              </a:cxn>
              <a:cxn ang="0">
                <a:pos x="478" y="422"/>
              </a:cxn>
              <a:cxn ang="0">
                <a:pos x="494" y="390"/>
              </a:cxn>
              <a:cxn ang="0">
                <a:pos x="504" y="359"/>
              </a:cxn>
              <a:cxn ang="0">
                <a:pos x="510" y="320"/>
              </a:cxn>
              <a:cxn ang="0">
                <a:pos x="505" y="284"/>
              </a:cxn>
              <a:cxn ang="0">
                <a:pos x="497" y="250"/>
              </a:cxn>
              <a:cxn ang="0">
                <a:pos x="485" y="222"/>
              </a:cxn>
              <a:cxn ang="0">
                <a:pos x="462" y="185"/>
              </a:cxn>
              <a:cxn ang="0">
                <a:pos x="437" y="156"/>
              </a:cxn>
              <a:cxn ang="0">
                <a:pos x="410" y="131"/>
              </a:cxn>
              <a:cxn ang="0">
                <a:pos x="373" y="105"/>
              </a:cxn>
              <a:cxn ang="0">
                <a:pos x="332" y="83"/>
              </a:cxn>
              <a:cxn ang="0">
                <a:pos x="250" y="55"/>
              </a:cxn>
              <a:cxn ang="0">
                <a:pos x="178" y="43"/>
              </a:cxn>
              <a:cxn ang="0">
                <a:pos x="137" y="0"/>
              </a:cxn>
              <a:cxn ang="0">
                <a:pos x="138" y="189"/>
              </a:cxn>
              <a:cxn ang="0">
                <a:pos x="179" y="149"/>
              </a:cxn>
              <a:cxn ang="0">
                <a:pos x="243" y="162"/>
              </a:cxn>
              <a:cxn ang="0">
                <a:pos x="308" y="191"/>
              </a:cxn>
              <a:cxn ang="0">
                <a:pos x="345" y="218"/>
              </a:cxn>
              <a:cxn ang="0">
                <a:pos x="375" y="245"/>
              </a:cxn>
              <a:cxn ang="0">
                <a:pos x="399" y="276"/>
              </a:cxn>
              <a:cxn ang="0">
                <a:pos x="417" y="315"/>
              </a:cxn>
              <a:cxn ang="0">
                <a:pos x="425" y="353"/>
              </a:cxn>
              <a:cxn ang="0">
                <a:pos x="425" y="388"/>
              </a:cxn>
              <a:cxn ang="0">
                <a:pos x="417" y="420"/>
              </a:cxn>
              <a:cxn ang="0">
                <a:pos x="403" y="454"/>
              </a:cxn>
              <a:cxn ang="0">
                <a:pos x="374" y="493"/>
              </a:cxn>
              <a:cxn ang="0">
                <a:pos x="338" y="525"/>
              </a:cxn>
              <a:cxn ang="0">
                <a:pos x="303" y="548"/>
              </a:cxn>
              <a:cxn ang="0">
                <a:pos x="266" y="564"/>
              </a:cxn>
              <a:cxn ang="0">
                <a:pos x="239" y="575"/>
              </a:cxn>
              <a:cxn ang="0">
                <a:pos x="204" y="581"/>
              </a:cxn>
              <a:cxn ang="0">
                <a:pos x="125" y="591"/>
              </a:cxn>
            </a:cxnLst>
            <a:rect l="0" t="0" r="r" b="b"/>
            <a:pathLst>
              <a:path w="511" h="592">
                <a:moveTo>
                  <a:pt x="125" y="591"/>
                </a:moveTo>
                <a:lnTo>
                  <a:pt x="186" y="589"/>
                </a:lnTo>
                <a:lnTo>
                  <a:pt x="206" y="587"/>
                </a:lnTo>
                <a:lnTo>
                  <a:pt x="232" y="583"/>
                </a:lnTo>
                <a:lnTo>
                  <a:pt x="251" y="579"/>
                </a:lnTo>
                <a:lnTo>
                  <a:pt x="270" y="574"/>
                </a:lnTo>
                <a:lnTo>
                  <a:pt x="289" y="568"/>
                </a:lnTo>
                <a:lnTo>
                  <a:pt x="307" y="561"/>
                </a:lnTo>
                <a:lnTo>
                  <a:pt x="327" y="553"/>
                </a:lnTo>
                <a:lnTo>
                  <a:pt x="352" y="541"/>
                </a:lnTo>
                <a:lnTo>
                  <a:pt x="371" y="530"/>
                </a:lnTo>
                <a:lnTo>
                  <a:pt x="390" y="518"/>
                </a:lnTo>
                <a:lnTo>
                  <a:pt x="403" y="507"/>
                </a:lnTo>
                <a:lnTo>
                  <a:pt x="418" y="496"/>
                </a:lnTo>
                <a:lnTo>
                  <a:pt x="429" y="486"/>
                </a:lnTo>
                <a:lnTo>
                  <a:pt x="440" y="473"/>
                </a:lnTo>
                <a:lnTo>
                  <a:pt x="450" y="461"/>
                </a:lnTo>
                <a:lnTo>
                  <a:pt x="460" y="448"/>
                </a:lnTo>
                <a:lnTo>
                  <a:pt x="468" y="438"/>
                </a:lnTo>
                <a:lnTo>
                  <a:pt x="478" y="422"/>
                </a:lnTo>
                <a:lnTo>
                  <a:pt x="488" y="406"/>
                </a:lnTo>
                <a:lnTo>
                  <a:pt x="494" y="390"/>
                </a:lnTo>
                <a:lnTo>
                  <a:pt x="499" y="375"/>
                </a:lnTo>
                <a:lnTo>
                  <a:pt x="504" y="359"/>
                </a:lnTo>
                <a:lnTo>
                  <a:pt x="507" y="342"/>
                </a:lnTo>
                <a:lnTo>
                  <a:pt x="510" y="320"/>
                </a:lnTo>
                <a:lnTo>
                  <a:pt x="508" y="300"/>
                </a:lnTo>
                <a:lnTo>
                  <a:pt x="505" y="284"/>
                </a:lnTo>
                <a:lnTo>
                  <a:pt x="503" y="268"/>
                </a:lnTo>
                <a:lnTo>
                  <a:pt x="497" y="250"/>
                </a:lnTo>
                <a:lnTo>
                  <a:pt x="492" y="236"/>
                </a:lnTo>
                <a:lnTo>
                  <a:pt x="485" y="222"/>
                </a:lnTo>
                <a:lnTo>
                  <a:pt x="474" y="204"/>
                </a:lnTo>
                <a:lnTo>
                  <a:pt x="462" y="185"/>
                </a:lnTo>
                <a:lnTo>
                  <a:pt x="449" y="169"/>
                </a:lnTo>
                <a:lnTo>
                  <a:pt x="437" y="156"/>
                </a:lnTo>
                <a:lnTo>
                  <a:pt x="423" y="143"/>
                </a:lnTo>
                <a:lnTo>
                  <a:pt x="410" y="131"/>
                </a:lnTo>
                <a:lnTo>
                  <a:pt x="394" y="120"/>
                </a:lnTo>
                <a:lnTo>
                  <a:pt x="373" y="105"/>
                </a:lnTo>
                <a:lnTo>
                  <a:pt x="354" y="95"/>
                </a:lnTo>
                <a:lnTo>
                  <a:pt x="332" y="83"/>
                </a:lnTo>
                <a:lnTo>
                  <a:pt x="287" y="66"/>
                </a:lnTo>
                <a:lnTo>
                  <a:pt x="250" y="55"/>
                </a:lnTo>
                <a:lnTo>
                  <a:pt x="210" y="47"/>
                </a:lnTo>
                <a:lnTo>
                  <a:pt x="178" y="43"/>
                </a:lnTo>
                <a:lnTo>
                  <a:pt x="137" y="40"/>
                </a:lnTo>
                <a:lnTo>
                  <a:pt x="137" y="0"/>
                </a:lnTo>
                <a:lnTo>
                  <a:pt x="0" y="93"/>
                </a:lnTo>
                <a:lnTo>
                  <a:pt x="138" y="189"/>
                </a:lnTo>
                <a:lnTo>
                  <a:pt x="138" y="146"/>
                </a:lnTo>
                <a:lnTo>
                  <a:pt x="179" y="149"/>
                </a:lnTo>
                <a:lnTo>
                  <a:pt x="210" y="154"/>
                </a:lnTo>
                <a:lnTo>
                  <a:pt x="243" y="162"/>
                </a:lnTo>
                <a:lnTo>
                  <a:pt x="287" y="179"/>
                </a:lnTo>
                <a:lnTo>
                  <a:pt x="308" y="191"/>
                </a:lnTo>
                <a:lnTo>
                  <a:pt x="328" y="204"/>
                </a:lnTo>
                <a:lnTo>
                  <a:pt x="345" y="218"/>
                </a:lnTo>
                <a:lnTo>
                  <a:pt x="362" y="231"/>
                </a:lnTo>
                <a:lnTo>
                  <a:pt x="375" y="245"/>
                </a:lnTo>
                <a:lnTo>
                  <a:pt x="386" y="259"/>
                </a:lnTo>
                <a:lnTo>
                  <a:pt x="399" y="276"/>
                </a:lnTo>
                <a:lnTo>
                  <a:pt x="410" y="296"/>
                </a:lnTo>
                <a:lnTo>
                  <a:pt x="417" y="315"/>
                </a:lnTo>
                <a:lnTo>
                  <a:pt x="421" y="331"/>
                </a:lnTo>
                <a:lnTo>
                  <a:pt x="425" y="353"/>
                </a:lnTo>
                <a:lnTo>
                  <a:pt x="425" y="373"/>
                </a:lnTo>
                <a:lnTo>
                  <a:pt x="425" y="388"/>
                </a:lnTo>
                <a:lnTo>
                  <a:pt x="423" y="402"/>
                </a:lnTo>
                <a:lnTo>
                  <a:pt x="417" y="420"/>
                </a:lnTo>
                <a:lnTo>
                  <a:pt x="410" y="438"/>
                </a:lnTo>
                <a:lnTo>
                  <a:pt x="403" y="454"/>
                </a:lnTo>
                <a:lnTo>
                  <a:pt x="393" y="470"/>
                </a:lnTo>
                <a:lnTo>
                  <a:pt x="374" y="493"/>
                </a:lnTo>
                <a:lnTo>
                  <a:pt x="359" y="509"/>
                </a:lnTo>
                <a:lnTo>
                  <a:pt x="338" y="525"/>
                </a:lnTo>
                <a:lnTo>
                  <a:pt x="318" y="538"/>
                </a:lnTo>
                <a:lnTo>
                  <a:pt x="303" y="548"/>
                </a:lnTo>
                <a:lnTo>
                  <a:pt x="284" y="557"/>
                </a:lnTo>
                <a:lnTo>
                  <a:pt x="266" y="564"/>
                </a:lnTo>
                <a:lnTo>
                  <a:pt x="252" y="570"/>
                </a:lnTo>
                <a:lnTo>
                  <a:pt x="239" y="575"/>
                </a:lnTo>
                <a:lnTo>
                  <a:pt x="220" y="578"/>
                </a:lnTo>
                <a:lnTo>
                  <a:pt x="204" y="581"/>
                </a:lnTo>
                <a:lnTo>
                  <a:pt x="182" y="585"/>
                </a:lnTo>
                <a:lnTo>
                  <a:pt x="125" y="591"/>
                </a:lnTo>
              </a:path>
            </a:pathLst>
          </a:custGeom>
          <a:solidFill>
            <a:schemeClr val="tx2"/>
          </a:solidFill>
          <a:ln w="9525" cap="rnd" cmpd="sng">
            <a:solidFill>
              <a:schemeClr val="bg1"/>
            </a:solidFill>
            <a:prstDash val="solid"/>
            <a:round/>
            <a:headEnd/>
            <a:tailEnd/>
          </a:ln>
          <a:effectLst/>
        </p:spPr>
        <p:txBody>
          <a:bodyPr>
            <a:prstTxWarp prst="textNoShape">
              <a:avLst/>
            </a:prstTxWarp>
          </a:bodyPr>
          <a:lstStyle/>
          <a:p>
            <a:endParaRPr lang="en-GB" dirty="0">
              <a:latin typeface="Garamond"/>
            </a:endParaRPr>
          </a:p>
        </p:txBody>
      </p:sp>
      <p:sp>
        <p:nvSpPr>
          <p:cNvPr id="101" name="Freeform 1893"/>
          <p:cNvSpPr>
            <a:spLocks/>
          </p:cNvSpPr>
          <p:nvPr/>
        </p:nvSpPr>
        <p:spPr bwMode="gray">
          <a:xfrm flipH="1">
            <a:off x="2266217" y="2858642"/>
            <a:ext cx="611645" cy="581826"/>
          </a:xfrm>
          <a:custGeom>
            <a:avLst/>
            <a:gdLst/>
            <a:ahLst/>
            <a:cxnLst>
              <a:cxn ang="0">
                <a:pos x="323" y="589"/>
              </a:cxn>
              <a:cxn ang="0">
                <a:pos x="277" y="583"/>
              </a:cxn>
              <a:cxn ang="0">
                <a:pos x="239" y="574"/>
              </a:cxn>
              <a:cxn ang="0">
                <a:pos x="202" y="561"/>
              </a:cxn>
              <a:cxn ang="0">
                <a:pos x="157" y="541"/>
              </a:cxn>
              <a:cxn ang="0">
                <a:pos x="119" y="518"/>
              </a:cxn>
              <a:cxn ang="0">
                <a:pos x="91" y="496"/>
              </a:cxn>
              <a:cxn ang="0">
                <a:pos x="69" y="473"/>
              </a:cxn>
              <a:cxn ang="0">
                <a:pos x="49" y="448"/>
              </a:cxn>
              <a:cxn ang="0">
                <a:pos x="31" y="422"/>
              </a:cxn>
              <a:cxn ang="0">
                <a:pos x="15" y="390"/>
              </a:cxn>
              <a:cxn ang="0">
                <a:pos x="5" y="359"/>
              </a:cxn>
              <a:cxn ang="0">
                <a:pos x="0" y="320"/>
              </a:cxn>
              <a:cxn ang="0">
                <a:pos x="4" y="284"/>
              </a:cxn>
              <a:cxn ang="0">
                <a:pos x="12" y="250"/>
              </a:cxn>
              <a:cxn ang="0">
                <a:pos x="24" y="222"/>
              </a:cxn>
              <a:cxn ang="0">
                <a:pos x="47" y="185"/>
              </a:cxn>
              <a:cxn ang="0">
                <a:pos x="72" y="156"/>
              </a:cxn>
              <a:cxn ang="0">
                <a:pos x="99" y="131"/>
              </a:cxn>
              <a:cxn ang="0">
                <a:pos x="136" y="105"/>
              </a:cxn>
              <a:cxn ang="0">
                <a:pos x="177" y="83"/>
              </a:cxn>
              <a:cxn ang="0">
                <a:pos x="259" y="55"/>
              </a:cxn>
              <a:cxn ang="0">
                <a:pos x="331" y="43"/>
              </a:cxn>
              <a:cxn ang="0">
                <a:pos x="372" y="0"/>
              </a:cxn>
              <a:cxn ang="0">
                <a:pos x="371" y="189"/>
              </a:cxn>
              <a:cxn ang="0">
                <a:pos x="330" y="149"/>
              </a:cxn>
              <a:cxn ang="0">
                <a:pos x="266" y="162"/>
              </a:cxn>
              <a:cxn ang="0">
                <a:pos x="201" y="191"/>
              </a:cxn>
              <a:cxn ang="0">
                <a:pos x="164" y="218"/>
              </a:cxn>
              <a:cxn ang="0">
                <a:pos x="134" y="245"/>
              </a:cxn>
              <a:cxn ang="0">
                <a:pos x="110" y="276"/>
              </a:cxn>
              <a:cxn ang="0">
                <a:pos x="92" y="315"/>
              </a:cxn>
              <a:cxn ang="0">
                <a:pos x="84" y="353"/>
              </a:cxn>
              <a:cxn ang="0">
                <a:pos x="84" y="388"/>
              </a:cxn>
              <a:cxn ang="0">
                <a:pos x="92" y="420"/>
              </a:cxn>
              <a:cxn ang="0">
                <a:pos x="106" y="454"/>
              </a:cxn>
              <a:cxn ang="0">
                <a:pos x="135" y="493"/>
              </a:cxn>
              <a:cxn ang="0">
                <a:pos x="171" y="525"/>
              </a:cxn>
              <a:cxn ang="0">
                <a:pos x="206" y="548"/>
              </a:cxn>
              <a:cxn ang="0">
                <a:pos x="243" y="564"/>
              </a:cxn>
              <a:cxn ang="0">
                <a:pos x="270" y="575"/>
              </a:cxn>
              <a:cxn ang="0">
                <a:pos x="305" y="581"/>
              </a:cxn>
              <a:cxn ang="0">
                <a:pos x="384" y="591"/>
              </a:cxn>
            </a:cxnLst>
            <a:rect l="0" t="0" r="r" b="b"/>
            <a:pathLst>
              <a:path w="511" h="592">
                <a:moveTo>
                  <a:pt x="384" y="591"/>
                </a:moveTo>
                <a:lnTo>
                  <a:pt x="323" y="589"/>
                </a:lnTo>
                <a:lnTo>
                  <a:pt x="303" y="587"/>
                </a:lnTo>
                <a:lnTo>
                  <a:pt x="277" y="583"/>
                </a:lnTo>
                <a:lnTo>
                  <a:pt x="258" y="579"/>
                </a:lnTo>
                <a:lnTo>
                  <a:pt x="239" y="574"/>
                </a:lnTo>
                <a:lnTo>
                  <a:pt x="220" y="568"/>
                </a:lnTo>
                <a:lnTo>
                  <a:pt x="202" y="561"/>
                </a:lnTo>
                <a:lnTo>
                  <a:pt x="182" y="553"/>
                </a:lnTo>
                <a:lnTo>
                  <a:pt x="157" y="541"/>
                </a:lnTo>
                <a:lnTo>
                  <a:pt x="138" y="530"/>
                </a:lnTo>
                <a:lnTo>
                  <a:pt x="119" y="518"/>
                </a:lnTo>
                <a:lnTo>
                  <a:pt x="106" y="507"/>
                </a:lnTo>
                <a:lnTo>
                  <a:pt x="91" y="496"/>
                </a:lnTo>
                <a:lnTo>
                  <a:pt x="80" y="486"/>
                </a:lnTo>
                <a:lnTo>
                  <a:pt x="69" y="473"/>
                </a:lnTo>
                <a:lnTo>
                  <a:pt x="59" y="461"/>
                </a:lnTo>
                <a:lnTo>
                  <a:pt x="49" y="448"/>
                </a:lnTo>
                <a:lnTo>
                  <a:pt x="41" y="438"/>
                </a:lnTo>
                <a:lnTo>
                  <a:pt x="31" y="422"/>
                </a:lnTo>
                <a:lnTo>
                  <a:pt x="21" y="406"/>
                </a:lnTo>
                <a:lnTo>
                  <a:pt x="15" y="390"/>
                </a:lnTo>
                <a:lnTo>
                  <a:pt x="10" y="375"/>
                </a:lnTo>
                <a:lnTo>
                  <a:pt x="5" y="359"/>
                </a:lnTo>
                <a:lnTo>
                  <a:pt x="2" y="342"/>
                </a:lnTo>
                <a:lnTo>
                  <a:pt x="0" y="320"/>
                </a:lnTo>
                <a:lnTo>
                  <a:pt x="1" y="300"/>
                </a:lnTo>
                <a:lnTo>
                  <a:pt x="4" y="284"/>
                </a:lnTo>
                <a:lnTo>
                  <a:pt x="6" y="268"/>
                </a:lnTo>
                <a:lnTo>
                  <a:pt x="12" y="250"/>
                </a:lnTo>
                <a:lnTo>
                  <a:pt x="17" y="236"/>
                </a:lnTo>
                <a:lnTo>
                  <a:pt x="24" y="222"/>
                </a:lnTo>
                <a:lnTo>
                  <a:pt x="35" y="204"/>
                </a:lnTo>
                <a:lnTo>
                  <a:pt x="47" y="185"/>
                </a:lnTo>
                <a:lnTo>
                  <a:pt x="60" y="169"/>
                </a:lnTo>
                <a:lnTo>
                  <a:pt x="72" y="156"/>
                </a:lnTo>
                <a:lnTo>
                  <a:pt x="86" y="143"/>
                </a:lnTo>
                <a:lnTo>
                  <a:pt x="99" y="131"/>
                </a:lnTo>
                <a:lnTo>
                  <a:pt x="115" y="120"/>
                </a:lnTo>
                <a:lnTo>
                  <a:pt x="136" y="105"/>
                </a:lnTo>
                <a:lnTo>
                  <a:pt x="155" y="95"/>
                </a:lnTo>
                <a:lnTo>
                  <a:pt x="177" y="83"/>
                </a:lnTo>
                <a:lnTo>
                  <a:pt x="222" y="66"/>
                </a:lnTo>
                <a:lnTo>
                  <a:pt x="259" y="55"/>
                </a:lnTo>
                <a:lnTo>
                  <a:pt x="299" y="47"/>
                </a:lnTo>
                <a:lnTo>
                  <a:pt x="331" y="43"/>
                </a:lnTo>
                <a:lnTo>
                  <a:pt x="372" y="40"/>
                </a:lnTo>
                <a:lnTo>
                  <a:pt x="372" y="0"/>
                </a:lnTo>
                <a:lnTo>
                  <a:pt x="510" y="93"/>
                </a:lnTo>
                <a:lnTo>
                  <a:pt x="371" y="189"/>
                </a:lnTo>
                <a:lnTo>
                  <a:pt x="371" y="146"/>
                </a:lnTo>
                <a:lnTo>
                  <a:pt x="330" y="149"/>
                </a:lnTo>
                <a:lnTo>
                  <a:pt x="299" y="154"/>
                </a:lnTo>
                <a:lnTo>
                  <a:pt x="266" y="162"/>
                </a:lnTo>
                <a:lnTo>
                  <a:pt x="222" y="179"/>
                </a:lnTo>
                <a:lnTo>
                  <a:pt x="201" y="191"/>
                </a:lnTo>
                <a:lnTo>
                  <a:pt x="181" y="204"/>
                </a:lnTo>
                <a:lnTo>
                  <a:pt x="164" y="218"/>
                </a:lnTo>
                <a:lnTo>
                  <a:pt x="147" y="231"/>
                </a:lnTo>
                <a:lnTo>
                  <a:pt x="134" y="245"/>
                </a:lnTo>
                <a:lnTo>
                  <a:pt x="123" y="259"/>
                </a:lnTo>
                <a:lnTo>
                  <a:pt x="110" y="276"/>
                </a:lnTo>
                <a:lnTo>
                  <a:pt x="99" y="296"/>
                </a:lnTo>
                <a:lnTo>
                  <a:pt x="92" y="315"/>
                </a:lnTo>
                <a:lnTo>
                  <a:pt x="88" y="331"/>
                </a:lnTo>
                <a:lnTo>
                  <a:pt x="84" y="353"/>
                </a:lnTo>
                <a:lnTo>
                  <a:pt x="84" y="373"/>
                </a:lnTo>
                <a:lnTo>
                  <a:pt x="84" y="388"/>
                </a:lnTo>
                <a:lnTo>
                  <a:pt x="86" y="402"/>
                </a:lnTo>
                <a:lnTo>
                  <a:pt x="92" y="420"/>
                </a:lnTo>
                <a:lnTo>
                  <a:pt x="99" y="438"/>
                </a:lnTo>
                <a:lnTo>
                  <a:pt x="106" y="454"/>
                </a:lnTo>
                <a:lnTo>
                  <a:pt x="116" y="470"/>
                </a:lnTo>
                <a:lnTo>
                  <a:pt x="135" y="493"/>
                </a:lnTo>
                <a:lnTo>
                  <a:pt x="150" y="509"/>
                </a:lnTo>
                <a:lnTo>
                  <a:pt x="171" y="525"/>
                </a:lnTo>
                <a:lnTo>
                  <a:pt x="191" y="538"/>
                </a:lnTo>
                <a:lnTo>
                  <a:pt x="206" y="548"/>
                </a:lnTo>
                <a:lnTo>
                  <a:pt x="225" y="557"/>
                </a:lnTo>
                <a:lnTo>
                  <a:pt x="243" y="564"/>
                </a:lnTo>
                <a:lnTo>
                  <a:pt x="257" y="570"/>
                </a:lnTo>
                <a:lnTo>
                  <a:pt x="270" y="575"/>
                </a:lnTo>
                <a:lnTo>
                  <a:pt x="289" y="578"/>
                </a:lnTo>
                <a:lnTo>
                  <a:pt x="305" y="581"/>
                </a:lnTo>
                <a:lnTo>
                  <a:pt x="327" y="585"/>
                </a:lnTo>
                <a:lnTo>
                  <a:pt x="384" y="591"/>
                </a:lnTo>
              </a:path>
            </a:pathLst>
          </a:custGeom>
          <a:solidFill>
            <a:schemeClr val="tx2"/>
          </a:solidFill>
          <a:ln w="9525" cap="rnd" cmpd="sng">
            <a:solidFill>
              <a:schemeClr val="bg1"/>
            </a:solidFill>
            <a:prstDash val="solid"/>
            <a:round/>
            <a:headEnd/>
            <a:tailEnd/>
          </a:ln>
          <a:effectLst/>
        </p:spPr>
        <p:txBody>
          <a:bodyPr>
            <a:prstTxWarp prst="textNoShape">
              <a:avLst/>
            </a:prstTxWarp>
          </a:bodyPr>
          <a:lstStyle/>
          <a:p>
            <a:endParaRPr lang="en-GB" dirty="0">
              <a:latin typeface="Garamond"/>
            </a:endParaRPr>
          </a:p>
        </p:txBody>
      </p:sp>
      <p:grpSp>
        <p:nvGrpSpPr>
          <p:cNvPr id="11" name="Group 1894"/>
          <p:cNvGrpSpPr>
            <a:grpSpLocks/>
          </p:cNvGrpSpPr>
          <p:nvPr>
            <p:custDataLst>
              <p:tags r:id="rId39"/>
            </p:custDataLst>
          </p:nvPr>
        </p:nvGrpSpPr>
        <p:grpSpPr bwMode="gray">
          <a:xfrm>
            <a:off x="1044570" y="3497982"/>
            <a:ext cx="795407" cy="771840"/>
            <a:chOff x="3300" y="2244"/>
            <a:chExt cx="1655" cy="1655"/>
          </a:xfrm>
          <a:solidFill>
            <a:schemeClr val="tx2"/>
          </a:solidFill>
        </p:grpSpPr>
        <p:sp>
          <p:nvSpPr>
            <p:cNvPr id="96" name="AutoShape 1895"/>
            <p:cNvSpPr>
              <a:spLocks noChangeArrowheads="1"/>
            </p:cNvSpPr>
            <p:nvPr/>
          </p:nvSpPr>
          <p:spPr bwMode="gray">
            <a:xfrm>
              <a:off x="3300" y="2244"/>
              <a:ext cx="1655" cy="1655"/>
            </a:xfrm>
            <a:custGeom>
              <a:avLst/>
              <a:gdLst>
                <a:gd name="G0" fmla="+- -7464534 0 0"/>
                <a:gd name="G1" fmla="+- 11780900 0 0"/>
                <a:gd name="G2" fmla="+- -7464534 0 11780900"/>
                <a:gd name="G3" fmla="+- 10800 0 0"/>
                <a:gd name="G4" fmla="+- 0 0 -7464534"/>
                <a:gd name="T0" fmla="*/ 360 256 1"/>
                <a:gd name="T1" fmla="*/ 0 256 1"/>
                <a:gd name="G5" fmla="+- G2 T0 T1"/>
                <a:gd name="G6" fmla="?: G2 G2 G5"/>
                <a:gd name="G7" fmla="+- 0 0 G6"/>
                <a:gd name="G8" fmla="+- 7972 0 0"/>
                <a:gd name="G9" fmla="+- 0 0 11780900"/>
                <a:gd name="G10" fmla="+- 7972 0 2700"/>
                <a:gd name="G11" fmla="cos G10 -7464534"/>
                <a:gd name="G12" fmla="sin G10 -7464534"/>
                <a:gd name="G13" fmla="cos 13500 -7464534"/>
                <a:gd name="G14" fmla="sin 13500 -7464534"/>
                <a:gd name="G15" fmla="+- G11 10800 0"/>
                <a:gd name="G16" fmla="+- G12 10800 0"/>
                <a:gd name="G17" fmla="+- G13 10800 0"/>
                <a:gd name="G18" fmla="+- G14 10800 0"/>
                <a:gd name="G19" fmla="*/ 7972 1 2"/>
                <a:gd name="G20" fmla="+- G19 5400 0"/>
                <a:gd name="G21" fmla="cos G20 -7464534"/>
                <a:gd name="G22" fmla="sin G20 -7464534"/>
                <a:gd name="G23" fmla="+- G21 10800 0"/>
                <a:gd name="G24" fmla="+- G12 G23 G22"/>
                <a:gd name="G25" fmla="+- G22 G23 G11"/>
                <a:gd name="G26" fmla="cos 10800 -7464534"/>
                <a:gd name="G27" fmla="sin 10800 -7464534"/>
                <a:gd name="G28" fmla="cos 7972 -7464534"/>
                <a:gd name="G29" fmla="sin 7972 -7464534"/>
                <a:gd name="G30" fmla="+- G26 10800 0"/>
                <a:gd name="G31" fmla="+- G27 10800 0"/>
                <a:gd name="G32" fmla="+- G28 10800 0"/>
                <a:gd name="G33" fmla="+- G29 10800 0"/>
                <a:gd name="G34" fmla="+- G19 5400 0"/>
                <a:gd name="G35" fmla="cos G34 11780900"/>
                <a:gd name="G36" fmla="sin G34 11780900"/>
                <a:gd name="G37" fmla="+/ 11780900 -7464534 2"/>
                <a:gd name="T2" fmla="*/ 180 256 1"/>
                <a:gd name="T3" fmla="*/ 0 256 1"/>
                <a:gd name="G38" fmla="+- G37 T2 T3"/>
                <a:gd name="G39" fmla="?: G2 G37 G38"/>
                <a:gd name="G40" fmla="cos 10800 G39"/>
                <a:gd name="G41" fmla="sin 10800 G39"/>
                <a:gd name="G42" fmla="cos 7972 G39"/>
                <a:gd name="G43" fmla="sin 7972 G39"/>
                <a:gd name="G44" fmla="+- G40 10800 0"/>
                <a:gd name="G45" fmla="+- G41 10800 0"/>
                <a:gd name="G46" fmla="+- G42 10800 0"/>
                <a:gd name="G47" fmla="+- G43 10800 0"/>
                <a:gd name="G48" fmla="+- G35 10800 0"/>
                <a:gd name="G49" fmla="+- G36 10800 0"/>
                <a:gd name="T4" fmla="*/ 1735 w 21600"/>
                <a:gd name="T5" fmla="*/ 4928 h 21600"/>
                <a:gd name="T6" fmla="*/ 1414 w 21600"/>
                <a:gd name="T7" fmla="*/ 10838 h 21600"/>
                <a:gd name="T8" fmla="*/ 4108 w 21600"/>
                <a:gd name="T9" fmla="*/ 6466 h 21600"/>
                <a:gd name="T10" fmla="*/ 5330 w 21600"/>
                <a:gd name="T11" fmla="*/ -1543 h 21600"/>
                <a:gd name="T12" fmla="*/ 10759 w 21600"/>
                <a:gd name="T13" fmla="*/ 551 h 21600"/>
                <a:gd name="T14" fmla="*/ 8664 w 21600"/>
                <a:gd name="T15" fmla="*/ 5980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7570" y="3511"/>
                  </a:moveTo>
                  <a:cubicBezTo>
                    <a:pt x="4687" y="4789"/>
                    <a:pt x="2827" y="7646"/>
                    <a:pt x="2827" y="10799"/>
                  </a:cubicBezTo>
                  <a:cubicBezTo>
                    <a:pt x="2827" y="10811"/>
                    <a:pt x="2828" y="10822"/>
                    <a:pt x="2828" y="10833"/>
                  </a:cubicBezTo>
                  <a:lnTo>
                    <a:pt x="0" y="10844"/>
                  </a:lnTo>
                  <a:cubicBezTo>
                    <a:pt x="0" y="10829"/>
                    <a:pt x="0" y="10814"/>
                    <a:pt x="0" y="10800"/>
                  </a:cubicBezTo>
                  <a:cubicBezTo>
                    <a:pt x="0" y="6527"/>
                    <a:pt x="2518" y="2656"/>
                    <a:pt x="6424" y="926"/>
                  </a:cubicBezTo>
                  <a:lnTo>
                    <a:pt x="5330" y="-1543"/>
                  </a:lnTo>
                  <a:lnTo>
                    <a:pt x="10759" y="551"/>
                  </a:lnTo>
                  <a:lnTo>
                    <a:pt x="8664" y="5980"/>
                  </a:lnTo>
                  <a:lnTo>
                    <a:pt x="7570" y="3511"/>
                  </a:lnTo>
                  <a:close/>
                </a:path>
              </a:pathLst>
            </a:custGeom>
            <a:grpFill/>
            <a:ln w="9525">
              <a:solidFill>
                <a:schemeClr val="bg1"/>
              </a:solidFill>
              <a:miter lim="800000"/>
              <a:headEnd/>
              <a:tailEnd/>
            </a:ln>
            <a:effectLst/>
          </p:spPr>
          <p:txBody>
            <a:bodyPr wrap="none" anchor="ctr">
              <a:prstTxWarp prst="textNoShape">
                <a:avLst/>
              </a:prstTxWarp>
            </a:bodyPr>
            <a:lstStyle/>
            <a:p>
              <a:endParaRPr lang="en-GB" dirty="0">
                <a:latin typeface="Garamond"/>
              </a:endParaRPr>
            </a:p>
          </p:txBody>
        </p:sp>
        <p:sp>
          <p:nvSpPr>
            <p:cNvPr id="97" name="AutoShape 1896"/>
            <p:cNvSpPr>
              <a:spLocks noChangeArrowheads="1"/>
            </p:cNvSpPr>
            <p:nvPr/>
          </p:nvSpPr>
          <p:spPr bwMode="gray">
            <a:xfrm>
              <a:off x="3300" y="2244"/>
              <a:ext cx="1655" cy="1655"/>
            </a:xfrm>
            <a:custGeom>
              <a:avLst/>
              <a:gdLst>
                <a:gd name="G0" fmla="+- -1590692 0 0"/>
                <a:gd name="G1" fmla="+- -5832377 0 0"/>
                <a:gd name="G2" fmla="+- -1590692 0 -5832377"/>
                <a:gd name="G3" fmla="+- 10800 0 0"/>
                <a:gd name="G4" fmla="+- 0 0 -1590692"/>
                <a:gd name="T0" fmla="*/ 360 256 1"/>
                <a:gd name="T1" fmla="*/ 0 256 1"/>
                <a:gd name="G5" fmla="+- G2 T0 T1"/>
                <a:gd name="G6" fmla="?: G2 G2 G5"/>
                <a:gd name="G7" fmla="+- 0 0 G6"/>
                <a:gd name="G8" fmla="+- 8081 0 0"/>
                <a:gd name="G9" fmla="+- 0 0 -5832377"/>
                <a:gd name="G10" fmla="+- 8081 0 2700"/>
                <a:gd name="G11" fmla="cos G10 -1590692"/>
                <a:gd name="G12" fmla="sin G10 -1590692"/>
                <a:gd name="G13" fmla="cos 13500 -1590692"/>
                <a:gd name="G14" fmla="sin 13500 -1590692"/>
                <a:gd name="G15" fmla="+- G11 10800 0"/>
                <a:gd name="G16" fmla="+- G12 10800 0"/>
                <a:gd name="G17" fmla="+- G13 10800 0"/>
                <a:gd name="G18" fmla="+- G14 10800 0"/>
                <a:gd name="G19" fmla="*/ 8081 1 2"/>
                <a:gd name="G20" fmla="+- G19 5400 0"/>
                <a:gd name="G21" fmla="cos G20 -1590692"/>
                <a:gd name="G22" fmla="sin G20 -1590692"/>
                <a:gd name="G23" fmla="+- G21 10800 0"/>
                <a:gd name="G24" fmla="+- G12 G23 G22"/>
                <a:gd name="G25" fmla="+- G22 G23 G11"/>
                <a:gd name="G26" fmla="cos 10800 -1590692"/>
                <a:gd name="G27" fmla="sin 10800 -1590692"/>
                <a:gd name="G28" fmla="cos 8081 -1590692"/>
                <a:gd name="G29" fmla="sin 8081 -1590692"/>
                <a:gd name="G30" fmla="+- G26 10800 0"/>
                <a:gd name="G31" fmla="+- G27 10800 0"/>
                <a:gd name="G32" fmla="+- G28 10800 0"/>
                <a:gd name="G33" fmla="+- G29 10800 0"/>
                <a:gd name="G34" fmla="+- G19 5400 0"/>
                <a:gd name="G35" fmla="cos G34 -5832377"/>
                <a:gd name="G36" fmla="sin G34 -5832377"/>
                <a:gd name="G37" fmla="+/ -5832377 -1590692 2"/>
                <a:gd name="T2" fmla="*/ 180 256 1"/>
                <a:gd name="T3" fmla="*/ 0 256 1"/>
                <a:gd name="G38" fmla="+- G37 T2 T3"/>
                <a:gd name="G39" fmla="?: G2 G37 G38"/>
                <a:gd name="G40" fmla="cos 10800 G39"/>
                <a:gd name="G41" fmla="sin 10800 G39"/>
                <a:gd name="G42" fmla="cos 8081 G39"/>
                <a:gd name="G43" fmla="sin 8081 G39"/>
                <a:gd name="G44" fmla="+- G40 10800 0"/>
                <a:gd name="G45" fmla="+- G41 10800 0"/>
                <a:gd name="G46" fmla="+- G42 10800 0"/>
                <a:gd name="G47" fmla="+- G43 10800 0"/>
                <a:gd name="G48" fmla="+- G35 10800 0"/>
                <a:gd name="G49" fmla="+- G36 10800 0"/>
                <a:gd name="T4" fmla="*/ 16739 w 21600"/>
                <a:gd name="T5" fmla="*/ 1780 h 21600"/>
                <a:gd name="T6" fmla="*/ 10965 w 21600"/>
                <a:gd name="T7" fmla="*/ 1360 h 21600"/>
                <a:gd name="T8" fmla="*/ 15244 w 21600"/>
                <a:gd name="T9" fmla="*/ 4050 h 21600"/>
                <a:gd name="T10" fmla="*/ 23106 w 21600"/>
                <a:gd name="T11" fmla="*/ 5250 h 21600"/>
                <a:gd name="T12" fmla="*/ 21075 w 21600"/>
                <a:gd name="T13" fmla="*/ 10620 h 21600"/>
                <a:gd name="T14" fmla="*/ 15705 w 21600"/>
                <a:gd name="T15" fmla="*/ 8588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8166" y="7478"/>
                  </a:moveTo>
                  <a:cubicBezTo>
                    <a:pt x="16881" y="4628"/>
                    <a:pt x="14067" y="2775"/>
                    <a:pt x="10941" y="2720"/>
                  </a:cubicBezTo>
                  <a:lnTo>
                    <a:pt x="10989" y="1"/>
                  </a:lnTo>
                  <a:cubicBezTo>
                    <a:pt x="15167" y="74"/>
                    <a:pt x="18927" y="2551"/>
                    <a:pt x="20645" y="6360"/>
                  </a:cubicBezTo>
                  <a:lnTo>
                    <a:pt x="23106" y="5250"/>
                  </a:lnTo>
                  <a:lnTo>
                    <a:pt x="21075" y="10620"/>
                  </a:lnTo>
                  <a:lnTo>
                    <a:pt x="15705" y="8588"/>
                  </a:lnTo>
                  <a:lnTo>
                    <a:pt x="18166" y="7478"/>
                  </a:lnTo>
                  <a:close/>
                </a:path>
              </a:pathLst>
            </a:custGeom>
            <a:grpFill/>
            <a:ln w="9525">
              <a:solidFill>
                <a:schemeClr val="bg1"/>
              </a:solidFill>
              <a:miter lim="800000"/>
              <a:headEnd/>
              <a:tailEnd/>
            </a:ln>
            <a:effectLst/>
          </p:spPr>
          <p:txBody>
            <a:bodyPr wrap="none" anchor="ctr">
              <a:prstTxWarp prst="textNoShape">
                <a:avLst/>
              </a:prstTxWarp>
            </a:bodyPr>
            <a:lstStyle/>
            <a:p>
              <a:endParaRPr lang="en-GB" dirty="0">
                <a:latin typeface="Garamond"/>
              </a:endParaRPr>
            </a:p>
          </p:txBody>
        </p:sp>
        <p:sp>
          <p:nvSpPr>
            <p:cNvPr id="98" name="AutoShape 1897"/>
            <p:cNvSpPr>
              <a:spLocks noChangeArrowheads="1"/>
            </p:cNvSpPr>
            <p:nvPr/>
          </p:nvSpPr>
          <p:spPr bwMode="gray">
            <a:xfrm>
              <a:off x="3300" y="2244"/>
              <a:ext cx="1655" cy="1655"/>
            </a:xfrm>
            <a:custGeom>
              <a:avLst/>
              <a:gdLst>
                <a:gd name="G0" fmla="+- 4328573 0 0"/>
                <a:gd name="G1" fmla="+- 2343 0 0"/>
                <a:gd name="G2" fmla="+- 4328573 0 2343"/>
                <a:gd name="G3" fmla="+- 10800 0 0"/>
                <a:gd name="G4" fmla="+- 0 0 4328573"/>
                <a:gd name="T0" fmla="*/ 360 256 1"/>
                <a:gd name="T1" fmla="*/ 0 256 1"/>
                <a:gd name="G5" fmla="+- G2 T0 T1"/>
                <a:gd name="G6" fmla="?: G2 G2 G5"/>
                <a:gd name="G7" fmla="+- 0 0 G6"/>
                <a:gd name="G8" fmla="+- 8247 0 0"/>
                <a:gd name="G9" fmla="+- 0 0 2343"/>
                <a:gd name="G10" fmla="+- 8247 0 2700"/>
                <a:gd name="G11" fmla="cos G10 4328573"/>
                <a:gd name="G12" fmla="sin G10 4328573"/>
                <a:gd name="G13" fmla="cos 13500 4328573"/>
                <a:gd name="G14" fmla="sin 13500 4328573"/>
                <a:gd name="G15" fmla="+- G11 10800 0"/>
                <a:gd name="G16" fmla="+- G12 10800 0"/>
                <a:gd name="G17" fmla="+- G13 10800 0"/>
                <a:gd name="G18" fmla="+- G14 10800 0"/>
                <a:gd name="G19" fmla="*/ 8247 1 2"/>
                <a:gd name="G20" fmla="+- G19 5400 0"/>
                <a:gd name="G21" fmla="cos G20 4328573"/>
                <a:gd name="G22" fmla="sin G20 4328573"/>
                <a:gd name="G23" fmla="+- G21 10800 0"/>
                <a:gd name="G24" fmla="+- G12 G23 G22"/>
                <a:gd name="G25" fmla="+- G22 G23 G11"/>
                <a:gd name="G26" fmla="cos 10800 4328573"/>
                <a:gd name="G27" fmla="sin 10800 4328573"/>
                <a:gd name="G28" fmla="cos 8247 4328573"/>
                <a:gd name="G29" fmla="sin 8247 4328573"/>
                <a:gd name="G30" fmla="+- G26 10800 0"/>
                <a:gd name="G31" fmla="+- G27 10800 0"/>
                <a:gd name="G32" fmla="+- G28 10800 0"/>
                <a:gd name="G33" fmla="+- G29 10800 0"/>
                <a:gd name="G34" fmla="+- G19 5400 0"/>
                <a:gd name="G35" fmla="cos G34 2343"/>
                <a:gd name="G36" fmla="sin G34 2343"/>
                <a:gd name="G37" fmla="+/ 2343 4328573 2"/>
                <a:gd name="T2" fmla="*/ 180 256 1"/>
                <a:gd name="T3" fmla="*/ 0 256 1"/>
                <a:gd name="G38" fmla="+- G37 T2 T3"/>
                <a:gd name="G39" fmla="?: G2 G37 G38"/>
                <a:gd name="G40" fmla="cos 10800 G39"/>
                <a:gd name="G41" fmla="sin 10800 G39"/>
                <a:gd name="G42" fmla="cos 8247 G39"/>
                <a:gd name="G43" fmla="sin 8247 G39"/>
                <a:gd name="G44" fmla="+- G40 10800 0"/>
                <a:gd name="G45" fmla="+- G41 10800 0"/>
                <a:gd name="G46" fmla="+- G42 10800 0"/>
                <a:gd name="G47" fmla="+- G43 10800 0"/>
                <a:gd name="G48" fmla="+- G35 10800 0"/>
                <a:gd name="G49" fmla="+- G36 10800 0"/>
                <a:gd name="T4" fmla="*/ 19853 w 21600"/>
                <a:gd name="T5" fmla="*/ 16688 h 21600"/>
                <a:gd name="T6" fmla="*/ 20323 w 21600"/>
                <a:gd name="T7" fmla="*/ 10805 h 21600"/>
                <a:gd name="T8" fmla="*/ 17713 w 21600"/>
                <a:gd name="T9" fmla="*/ 15296 h 21600"/>
                <a:gd name="T10" fmla="*/ 16280 w 21600"/>
                <a:gd name="T11" fmla="*/ 23137 h 21600"/>
                <a:gd name="T12" fmla="*/ 11032 w 21600"/>
                <a:gd name="T13" fmla="*/ 21118 h 21600"/>
                <a:gd name="T14" fmla="*/ 13051 w 21600"/>
                <a:gd name="T15" fmla="*/ 15869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4147" y="18336"/>
                  </a:moveTo>
                  <a:cubicBezTo>
                    <a:pt x="17125" y="17014"/>
                    <a:pt x="19044" y="14062"/>
                    <a:pt x="19046" y="10805"/>
                  </a:cubicBezTo>
                  <a:lnTo>
                    <a:pt x="21599" y="10806"/>
                  </a:lnTo>
                  <a:cubicBezTo>
                    <a:pt x="21597" y="15073"/>
                    <a:pt x="19083" y="18938"/>
                    <a:pt x="15184" y="20670"/>
                  </a:cubicBezTo>
                  <a:lnTo>
                    <a:pt x="16280" y="23137"/>
                  </a:lnTo>
                  <a:lnTo>
                    <a:pt x="11032" y="21118"/>
                  </a:lnTo>
                  <a:lnTo>
                    <a:pt x="13051" y="15869"/>
                  </a:lnTo>
                  <a:lnTo>
                    <a:pt x="14147" y="18336"/>
                  </a:lnTo>
                  <a:close/>
                </a:path>
              </a:pathLst>
            </a:custGeom>
            <a:grpFill/>
            <a:ln w="9525">
              <a:solidFill>
                <a:schemeClr val="bg1"/>
              </a:solidFill>
              <a:miter lim="800000"/>
              <a:headEnd/>
              <a:tailEnd/>
            </a:ln>
            <a:effectLst/>
          </p:spPr>
          <p:txBody>
            <a:bodyPr wrap="none" anchor="ctr">
              <a:prstTxWarp prst="textNoShape">
                <a:avLst/>
              </a:prstTxWarp>
            </a:bodyPr>
            <a:lstStyle/>
            <a:p>
              <a:endParaRPr lang="en-GB" dirty="0">
                <a:latin typeface="Garamond"/>
              </a:endParaRPr>
            </a:p>
          </p:txBody>
        </p:sp>
        <p:sp>
          <p:nvSpPr>
            <p:cNvPr id="99" name="AutoShape 1898"/>
            <p:cNvSpPr>
              <a:spLocks noChangeArrowheads="1"/>
            </p:cNvSpPr>
            <p:nvPr/>
          </p:nvSpPr>
          <p:spPr bwMode="gray">
            <a:xfrm>
              <a:off x="3300" y="2244"/>
              <a:ext cx="1655" cy="1655"/>
            </a:xfrm>
            <a:custGeom>
              <a:avLst/>
              <a:gdLst>
                <a:gd name="G0" fmla="+- 10206827 0 0"/>
                <a:gd name="G1" fmla="+- 5914233 0 0"/>
                <a:gd name="G2" fmla="+- 10206827 0 5914233"/>
                <a:gd name="G3" fmla="+- 10800 0 0"/>
                <a:gd name="G4" fmla="+- 0 0 10206827"/>
                <a:gd name="T0" fmla="*/ 360 256 1"/>
                <a:gd name="T1" fmla="*/ 0 256 1"/>
                <a:gd name="G5" fmla="+- G2 T0 T1"/>
                <a:gd name="G6" fmla="?: G2 G2 G5"/>
                <a:gd name="G7" fmla="+- 0 0 G6"/>
                <a:gd name="G8" fmla="+- 8181 0 0"/>
                <a:gd name="G9" fmla="+- 0 0 5914233"/>
                <a:gd name="G10" fmla="+- 8181 0 2700"/>
                <a:gd name="G11" fmla="cos G10 10206827"/>
                <a:gd name="G12" fmla="sin G10 10206827"/>
                <a:gd name="G13" fmla="cos 13500 10206827"/>
                <a:gd name="G14" fmla="sin 13500 10206827"/>
                <a:gd name="G15" fmla="+- G11 10800 0"/>
                <a:gd name="G16" fmla="+- G12 10800 0"/>
                <a:gd name="G17" fmla="+- G13 10800 0"/>
                <a:gd name="G18" fmla="+- G14 10800 0"/>
                <a:gd name="G19" fmla="*/ 8181 1 2"/>
                <a:gd name="G20" fmla="+- G19 5400 0"/>
                <a:gd name="G21" fmla="cos G20 10206827"/>
                <a:gd name="G22" fmla="sin G20 10206827"/>
                <a:gd name="G23" fmla="+- G21 10800 0"/>
                <a:gd name="G24" fmla="+- G12 G23 G22"/>
                <a:gd name="G25" fmla="+- G22 G23 G11"/>
                <a:gd name="G26" fmla="cos 10800 10206827"/>
                <a:gd name="G27" fmla="sin 10800 10206827"/>
                <a:gd name="G28" fmla="cos 8181 10206827"/>
                <a:gd name="G29" fmla="sin 8181 10206827"/>
                <a:gd name="G30" fmla="+- G26 10800 0"/>
                <a:gd name="G31" fmla="+- G27 10800 0"/>
                <a:gd name="G32" fmla="+- G28 10800 0"/>
                <a:gd name="G33" fmla="+- G29 10800 0"/>
                <a:gd name="G34" fmla="+- G19 5400 0"/>
                <a:gd name="G35" fmla="cos G34 5914233"/>
                <a:gd name="G36" fmla="sin G34 5914233"/>
                <a:gd name="G37" fmla="+/ 5914233 10206827 2"/>
                <a:gd name="T2" fmla="*/ 180 256 1"/>
                <a:gd name="T3" fmla="*/ 0 256 1"/>
                <a:gd name="G38" fmla="+- G37 T2 T3"/>
                <a:gd name="G39" fmla="?: G2 G37 G38"/>
                <a:gd name="G40" fmla="cos 10800 G39"/>
                <a:gd name="G41" fmla="sin 10800 G39"/>
                <a:gd name="G42" fmla="cos 8181 G39"/>
                <a:gd name="G43" fmla="sin 8181 G39"/>
                <a:gd name="G44" fmla="+- G40 10800 0"/>
                <a:gd name="G45" fmla="+- G41 10800 0"/>
                <a:gd name="G46" fmla="+- G42 10800 0"/>
                <a:gd name="G47" fmla="+- G43 10800 0"/>
                <a:gd name="G48" fmla="+- G35 10800 0"/>
                <a:gd name="G49" fmla="+- G36 10800 0"/>
                <a:gd name="T4" fmla="*/ 4918 w 21600"/>
                <a:gd name="T5" fmla="*/ 19858 h 21600"/>
                <a:gd name="T6" fmla="*/ 10759 w 21600"/>
                <a:gd name="T7" fmla="*/ 20290 h 21600"/>
                <a:gd name="T8" fmla="*/ 6345 w 21600"/>
                <a:gd name="T9" fmla="*/ 17661 h 21600"/>
                <a:gd name="T10" fmla="*/ -1509 w 21600"/>
                <a:gd name="T11" fmla="*/ 16346 h 21600"/>
                <a:gd name="T12" fmla="*/ 498 w 21600"/>
                <a:gd name="T13" fmla="*/ 11043 h 21600"/>
                <a:gd name="T14" fmla="*/ 5802 w 21600"/>
                <a:gd name="T15" fmla="*/ 13051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3341" y="14160"/>
                  </a:moveTo>
                  <a:cubicBezTo>
                    <a:pt x="4657" y="17083"/>
                    <a:pt x="7559" y="18967"/>
                    <a:pt x="10765" y="18980"/>
                  </a:cubicBezTo>
                  <a:lnTo>
                    <a:pt x="10754" y="21599"/>
                  </a:lnTo>
                  <a:cubicBezTo>
                    <a:pt x="6522" y="21581"/>
                    <a:pt x="2691" y="19094"/>
                    <a:pt x="953" y="15236"/>
                  </a:cubicBezTo>
                  <a:lnTo>
                    <a:pt x="-1509" y="16346"/>
                  </a:lnTo>
                  <a:lnTo>
                    <a:pt x="498" y="11043"/>
                  </a:lnTo>
                  <a:lnTo>
                    <a:pt x="5802" y="13051"/>
                  </a:lnTo>
                  <a:lnTo>
                    <a:pt x="3341" y="14160"/>
                  </a:lnTo>
                  <a:close/>
                </a:path>
              </a:pathLst>
            </a:custGeom>
            <a:grpFill/>
            <a:ln w="9525">
              <a:solidFill>
                <a:schemeClr val="bg1"/>
              </a:solidFill>
              <a:miter lim="800000"/>
              <a:headEnd/>
              <a:tailEnd/>
            </a:ln>
            <a:effectLst/>
          </p:spPr>
          <p:txBody>
            <a:bodyPr wrap="none" anchor="ctr">
              <a:prstTxWarp prst="textNoShape">
                <a:avLst/>
              </a:prstTxWarp>
            </a:bodyPr>
            <a:lstStyle/>
            <a:p>
              <a:endParaRPr lang="en-GB" dirty="0">
                <a:latin typeface="Garamond"/>
              </a:endParaRPr>
            </a:p>
          </p:txBody>
        </p:sp>
      </p:grpSp>
      <p:sp>
        <p:nvSpPr>
          <p:cNvPr id="113" name="Title 112"/>
          <p:cNvSpPr>
            <a:spLocks noGrp="1"/>
          </p:cNvSpPr>
          <p:nvPr>
            <p:ph type="title"/>
            <p:custDataLst>
              <p:tags r:id="rId40"/>
            </p:custDataLst>
          </p:nvPr>
        </p:nvSpPr>
        <p:spPr bwMode="gray"/>
        <p:txBody>
          <a:bodyPr/>
          <a:lstStyle/>
          <a:p>
            <a:r>
              <a:rPr lang="en-GB" dirty="0" smtClean="0"/>
              <a:t>Commonly used images</a:t>
            </a:r>
            <a:endParaRPr lang="en-GB" dirty="0"/>
          </a:p>
        </p:txBody>
      </p:sp>
      <p:sp>
        <p:nvSpPr>
          <p:cNvPr id="31" name="Footer Placeholder 30"/>
          <p:cNvSpPr>
            <a:spLocks noGrp="1"/>
          </p:cNvSpPr>
          <p:nvPr>
            <p:ph type="ftr" sz="quarter" idx="3"/>
          </p:nvPr>
        </p:nvSpPr>
        <p:spPr bwMode="gray"/>
        <p:txBody>
          <a:bodyPr/>
          <a:lstStyle/>
          <a:p>
            <a:r>
              <a:rPr lang="en-US" dirty="0" smtClean="0"/>
              <a:t>neil young |neil@ogcommunicationdesign.com |www.ogcommunicationdesign.com</a:t>
            </a:r>
            <a:endParaRPr lang="en-US" dirty="0"/>
          </a:p>
        </p:txBody>
      </p:sp>
      <p:sp>
        <p:nvSpPr>
          <p:cNvPr id="32" name="Slide Number Placeholder 31"/>
          <p:cNvSpPr>
            <a:spLocks noGrp="1"/>
          </p:cNvSpPr>
          <p:nvPr>
            <p:ph type="sldNum" sz="quarter" idx="4"/>
          </p:nvPr>
        </p:nvSpPr>
        <p:spPr bwMode="gray"/>
        <p:txBody>
          <a:bodyPr/>
          <a:lstStyle/>
          <a:p>
            <a:fld id="{367085BF-FE5B-49F7-9324-33F40C0A2379}" type="slidenum">
              <a:rPr lang="en-US" smtClean="0"/>
              <a:pPr/>
              <a:t>1</a:t>
            </a:fld>
            <a:endParaRPr lang="en-US" dirty="0"/>
          </a:p>
        </p:txBody>
      </p:sp>
      <p:grpSp>
        <p:nvGrpSpPr>
          <p:cNvPr id="115" name="Group 114"/>
          <p:cNvGrpSpPr/>
          <p:nvPr>
            <p:custDataLst>
              <p:tags r:id="rId41"/>
            </p:custDataLst>
          </p:nvPr>
        </p:nvGrpSpPr>
        <p:grpSpPr bwMode="gray">
          <a:xfrm>
            <a:off x="1331867" y="5499539"/>
            <a:ext cx="3213160" cy="215977"/>
            <a:chOff x="868363" y="6438106"/>
            <a:chExt cx="3757612" cy="238125"/>
          </a:xfrm>
          <a:solidFill>
            <a:srgbClr val="1F497D"/>
          </a:solidFill>
        </p:grpSpPr>
        <p:sp>
          <p:nvSpPr>
            <p:cNvPr id="116" name="Oval 1901"/>
            <p:cNvSpPr>
              <a:spLocks noChangeAspect="1" noChangeArrowheads="1"/>
            </p:cNvSpPr>
            <p:nvPr/>
          </p:nvSpPr>
          <p:spPr bwMode="gray">
            <a:xfrm>
              <a:off x="3084513" y="6438106"/>
              <a:ext cx="238125" cy="238125"/>
            </a:xfrm>
            <a:prstGeom prst="ellipse">
              <a:avLst/>
            </a:prstGeom>
            <a:grpFill/>
            <a:ln w="12700">
              <a:solidFill>
                <a:srgbClr val="1F497D"/>
              </a:solidFill>
              <a:round/>
              <a:headEnd/>
              <a:tailEnd/>
            </a:ln>
            <a:effectLst/>
          </p:spPr>
          <p:txBody>
            <a:bodyPr wrap="none" anchor="ctr">
              <a:prstTxWarp prst="textNoShape">
                <a:avLst/>
              </a:prstTxWarp>
              <a:noAutofit/>
            </a:bodyPr>
            <a:lstStyle/>
            <a:p>
              <a:endParaRPr lang="en-GB" dirty="0"/>
            </a:p>
          </p:txBody>
        </p:sp>
        <p:sp>
          <p:nvSpPr>
            <p:cNvPr id="117" name="Freeform 1902"/>
            <p:cNvSpPr>
              <a:spLocks noChangeAspect="1"/>
            </p:cNvSpPr>
            <p:nvPr/>
          </p:nvSpPr>
          <p:spPr bwMode="gray">
            <a:xfrm>
              <a:off x="3148013" y="6533356"/>
              <a:ext cx="112712" cy="0"/>
            </a:xfrm>
            <a:custGeom>
              <a:avLst/>
              <a:gdLst/>
              <a:ahLst/>
              <a:cxnLst>
                <a:cxn ang="0">
                  <a:pos x="0" y="0"/>
                </a:cxn>
                <a:cxn ang="0">
                  <a:pos x="104" y="0"/>
                </a:cxn>
              </a:cxnLst>
              <a:rect l="0" t="0" r="r" b="b"/>
              <a:pathLst>
                <a:path w="105" h="1">
                  <a:moveTo>
                    <a:pt x="0" y="0"/>
                  </a:moveTo>
                  <a:lnTo>
                    <a:pt x="104" y="0"/>
                  </a:lnTo>
                </a:path>
              </a:pathLst>
            </a:custGeom>
            <a:grpFill/>
            <a:ln w="22225" cmpd="sng">
              <a:solidFill>
                <a:schemeClr val="bg1"/>
              </a:solidFill>
              <a:round/>
              <a:headEnd type="none" w="med" len="med"/>
              <a:tailEnd type="none" w="med" len="med"/>
            </a:ln>
            <a:effectLst/>
          </p:spPr>
          <p:txBody>
            <a:bodyPr wrap="none" anchor="ctr">
              <a:prstTxWarp prst="textNoShape">
                <a:avLst/>
              </a:prstTxWarp>
              <a:noAutofit/>
            </a:bodyPr>
            <a:lstStyle/>
            <a:p>
              <a:endParaRPr lang="en-GB" dirty="0"/>
            </a:p>
          </p:txBody>
        </p:sp>
        <p:sp>
          <p:nvSpPr>
            <p:cNvPr id="118" name="Freeform 1903"/>
            <p:cNvSpPr>
              <a:spLocks noChangeAspect="1"/>
            </p:cNvSpPr>
            <p:nvPr/>
          </p:nvSpPr>
          <p:spPr bwMode="gray">
            <a:xfrm>
              <a:off x="3203575" y="6477793"/>
              <a:ext cx="0" cy="111125"/>
            </a:xfrm>
            <a:custGeom>
              <a:avLst/>
              <a:gdLst/>
              <a:ahLst/>
              <a:cxnLst>
                <a:cxn ang="0">
                  <a:pos x="0" y="0"/>
                </a:cxn>
                <a:cxn ang="0">
                  <a:pos x="0" y="104"/>
                </a:cxn>
              </a:cxnLst>
              <a:rect l="0" t="0" r="r" b="b"/>
              <a:pathLst>
                <a:path w="1" h="105">
                  <a:moveTo>
                    <a:pt x="0" y="0"/>
                  </a:moveTo>
                  <a:lnTo>
                    <a:pt x="0" y="104"/>
                  </a:lnTo>
                </a:path>
              </a:pathLst>
            </a:custGeom>
            <a:grpFill/>
            <a:ln w="22225" cmpd="sng">
              <a:solidFill>
                <a:schemeClr val="bg1"/>
              </a:solidFill>
              <a:round/>
              <a:headEnd type="none" w="med" len="med"/>
              <a:tailEnd type="none" w="med" len="med"/>
            </a:ln>
            <a:effectLst/>
          </p:spPr>
          <p:txBody>
            <a:bodyPr wrap="none" anchor="ctr">
              <a:prstTxWarp prst="textNoShape">
                <a:avLst/>
              </a:prstTxWarp>
              <a:noAutofit/>
            </a:bodyPr>
            <a:lstStyle/>
            <a:p>
              <a:endParaRPr lang="en-GB" dirty="0"/>
            </a:p>
          </p:txBody>
        </p:sp>
        <p:sp>
          <p:nvSpPr>
            <p:cNvPr id="119" name="Freeform 1904"/>
            <p:cNvSpPr>
              <a:spLocks noChangeAspect="1"/>
            </p:cNvSpPr>
            <p:nvPr/>
          </p:nvSpPr>
          <p:spPr bwMode="gray">
            <a:xfrm>
              <a:off x="3148013" y="6617493"/>
              <a:ext cx="112712" cy="1588"/>
            </a:xfrm>
            <a:custGeom>
              <a:avLst/>
              <a:gdLst/>
              <a:ahLst/>
              <a:cxnLst>
                <a:cxn ang="0">
                  <a:pos x="0" y="0"/>
                </a:cxn>
                <a:cxn ang="0">
                  <a:pos x="104" y="0"/>
                </a:cxn>
              </a:cxnLst>
              <a:rect l="0" t="0" r="r" b="b"/>
              <a:pathLst>
                <a:path w="105" h="1">
                  <a:moveTo>
                    <a:pt x="0" y="0"/>
                  </a:moveTo>
                  <a:lnTo>
                    <a:pt x="104" y="0"/>
                  </a:lnTo>
                </a:path>
              </a:pathLst>
            </a:custGeom>
            <a:grpFill/>
            <a:ln w="22225" cmpd="sng">
              <a:solidFill>
                <a:schemeClr val="bg1"/>
              </a:solidFill>
              <a:round/>
              <a:headEnd type="none" w="med" len="med"/>
              <a:tailEnd type="none" w="med" len="med"/>
            </a:ln>
            <a:effectLst/>
          </p:spPr>
          <p:txBody>
            <a:bodyPr wrap="none" anchor="ctr">
              <a:prstTxWarp prst="textNoShape">
                <a:avLst/>
              </a:prstTxWarp>
              <a:noAutofit/>
            </a:bodyPr>
            <a:lstStyle/>
            <a:p>
              <a:endParaRPr lang="en-GB" dirty="0"/>
            </a:p>
          </p:txBody>
        </p:sp>
        <p:sp>
          <p:nvSpPr>
            <p:cNvPr id="120" name="Oval 1906"/>
            <p:cNvSpPr>
              <a:spLocks noChangeAspect="1" noChangeArrowheads="1"/>
            </p:cNvSpPr>
            <p:nvPr/>
          </p:nvSpPr>
          <p:spPr bwMode="gray">
            <a:xfrm flipH="1">
              <a:off x="3416300" y="6438106"/>
              <a:ext cx="238125" cy="238125"/>
            </a:xfrm>
            <a:prstGeom prst="ellipse">
              <a:avLst/>
            </a:prstGeom>
            <a:grpFill/>
            <a:ln w="12700">
              <a:solidFill>
                <a:srgbClr val="1F497D"/>
              </a:solidFill>
              <a:round/>
              <a:headEnd/>
              <a:tailEnd/>
            </a:ln>
            <a:effectLst/>
          </p:spPr>
          <p:txBody>
            <a:bodyPr wrap="none" anchor="ctr">
              <a:prstTxWarp prst="textNoShape">
                <a:avLst/>
              </a:prstTxWarp>
              <a:noAutofit/>
            </a:bodyPr>
            <a:lstStyle/>
            <a:p>
              <a:endParaRPr lang="en-GB" dirty="0"/>
            </a:p>
          </p:txBody>
        </p:sp>
        <p:sp>
          <p:nvSpPr>
            <p:cNvPr id="121" name="Freeform 1907"/>
            <p:cNvSpPr>
              <a:spLocks noChangeAspect="1"/>
            </p:cNvSpPr>
            <p:nvPr/>
          </p:nvSpPr>
          <p:spPr bwMode="gray">
            <a:xfrm flipH="1">
              <a:off x="3482975" y="6501606"/>
              <a:ext cx="115888" cy="103187"/>
            </a:xfrm>
            <a:custGeom>
              <a:avLst/>
              <a:gdLst/>
              <a:ahLst/>
              <a:cxnLst>
                <a:cxn ang="0">
                  <a:pos x="87" y="0"/>
                </a:cxn>
                <a:cxn ang="0">
                  <a:pos x="0" y="36"/>
                </a:cxn>
                <a:cxn ang="0">
                  <a:pos x="87" y="72"/>
                </a:cxn>
              </a:cxnLst>
              <a:rect l="0" t="0" r="r" b="b"/>
              <a:pathLst>
                <a:path w="87" h="72">
                  <a:moveTo>
                    <a:pt x="87" y="0"/>
                  </a:moveTo>
                  <a:lnTo>
                    <a:pt x="0" y="36"/>
                  </a:lnTo>
                  <a:lnTo>
                    <a:pt x="87" y="72"/>
                  </a:lnTo>
                </a:path>
              </a:pathLst>
            </a:custGeom>
            <a:grpFill/>
            <a:ln w="25400" cap="flat" cmpd="sng">
              <a:solidFill>
                <a:schemeClr val="bg1"/>
              </a:solidFill>
              <a:prstDash val="solid"/>
              <a:round/>
              <a:headEnd type="none" w="med" len="med"/>
              <a:tailEnd type="none" w="med" len="med"/>
            </a:ln>
            <a:effectLst/>
          </p:spPr>
          <p:txBody>
            <a:bodyPr wrap="none">
              <a:prstTxWarp prst="textNoShape">
                <a:avLst/>
              </a:prstTxWarp>
              <a:noAutofit/>
            </a:bodyPr>
            <a:lstStyle/>
            <a:p>
              <a:endParaRPr lang="en-GB" dirty="0"/>
            </a:p>
          </p:txBody>
        </p:sp>
        <p:sp>
          <p:nvSpPr>
            <p:cNvPr id="122" name="Oval 1909"/>
            <p:cNvSpPr>
              <a:spLocks noChangeAspect="1" noChangeArrowheads="1"/>
            </p:cNvSpPr>
            <p:nvPr/>
          </p:nvSpPr>
          <p:spPr bwMode="gray">
            <a:xfrm flipH="1">
              <a:off x="4067175" y="6438106"/>
              <a:ext cx="238125" cy="238125"/>
            </a:xfrm>
            <a:prstGeom prst="ellipse">
              <a:avLst/>
            </a:prstGeom>
            <a:grpFill/>
            <a:ln w="12700">
              <a:solidFill>
                <a:srgbClr val="1F497D"/>
              </a:solidFill>
              <a:round/>
              <a:headEnd/>
              <a:tailEnd/>
            </a:ln>
            <a:effectLst/>
          </p:spPr>
          <p:txBody>
            <a:bodyPr wrap="none" anchor="ctr">
              <a:prstTxWarp prst="textNoShape">
                <a:avLst/>
              </a:prstTxWarp>
              <a:noAutofit/>
            </a:bodyPr>
            <a:lstStyle/>
            <a:p>
              <a:endParaRPr lang="en-GB" dirty="0"/>
            </a:p>
          </p:txBody>
        </p:sp>
        <p:sp>
          <p:nvSpPr>
            <p:cNvPr id="123" name="Freeform 1910"/>
            <p:cNvSpPr>
              <a:spLocks noChangeAspect="1"/>
            </p:cNvSpPr>
            <p:nvPr/>
          </p:nvSpPr>
          <p:spPr bwMode="gray">
            <a:xfrm flipH="1">
              <a:off x="4141788" y="6488906"/>
              <a:ext cx="98425" cy="87312"/>
            </a:xfrm>
            <a:custGeom>
              <a:avLst/>
              <a:gdLst/>
              <a:ahLst/>
              <a:cxnLst>
                <a:cxn ang="0">
                  <a:pos x="87" y="0"/>
                </a:cxn>
                <a:cxn ang="0">
                  <a:pos x="0" y="36"/>
                </a:cxn>
                <a:cxn ang="0">
                  <a:pos x="87" y="72"/>
                </a:cxn>
              </a:cxnLst>
              <a:rect l="0" t="0" r="r" b="b"/>
              <a:pathLst>
                <a:path w="87" h="72">
                  <a:moveTo>
                    <a:pt x="87" y="0"/>
                  </a:moveTo>
                  <a:lnTo>
                    <a:pt x="0" y="36"/>
                  </a:lnTo>
                  <a:lnTo>
                    <a:pt x="87" y="72"/>
                  </a:lnTo>
                </a:path>
              </a:pathLst>
            </a:custGeom>
            <a:grpFill/>
            <a:ln w="22225" cap="flat" cmpd="sng">
              <a:solidFill>
                <a:schemeClr val="bg1"/>
              </a:solidFill>
              <a:prstDash val="solid"/>
              <a:round/>
              <a:headEnd type="none" w="med" len="med"/>
              <a:tailEnd type="none" w="med" len="med"/>
            </a:ln>
            <a:effectLst/>
          </p:spPr>
          <p:txBody>
            <a:bodyPr wrap="none">
              <a:prstTxWarp prst="textNoShape">
                <a:avLst/>
              </a:prstTxWarp>
              <a:noAutofit/>
            </a:bodyPr>
            <a:lstStyle/>
            <a:p>
              <a:endParaRPr lang="en-GB" dirty="0"/>
            </a:p>
          </p:txBody>
        </p:sp>
        <p:sp>
          <p:nvSpPr>
            <p:cNvPr id="124" name="Line 1911"/>
            <p:cNvSpPr>
              <a:spLocks noChangeAspect="1" noChangeShapeType="1"/>
            </p:cNvSpPr>
            <p:nvPr/>
          </p:nvSpPr>
          <p:spPr bwMode="gray">
            <a:xfrm>
              <a:off x="4141788" y="6612731"/>
              <a:ext cx="106362" cy="0"/>
            </a:xfrm>
            <a:prstGeom prst="line">
              <a:avLst/>
            </a:prstGeom>
            <a:grpFill/>
            <a:ln w="22225">
              <a:solidFill>
                <a:schemeClr val="bg1"/>
              </a:solidFill>
              <a:round/>
              <a:headEnd/>
              <a:tailEnd/>
            </a:ln>
            <a:effectLst/>
          </p:spPr>
          <p:txBody>
            <a:bodyPr wrap="none">
              <a:prstTxWarp prst="textNoShape">
                <a:avLst/>
              </a:prstTxWarp>
              <a:noAutofit/>
            </a:bodyPr>
            <a:lstStyle/>
            <a:p>
              <a:endParaRPr lang="en-GB" dirty="0"/>
            </a:p>
          </p:txBody>
        </p:sp>
        <p:sp>
          <p:nvSpPr>
            <p:cNvPr id="125" name="Oval 1913"/>
            <p:cNvSpPr>
              <a:spLocks noChangeAspect="1" noChangeArrowheads="1"/>
            </p:cNvSpPr>
            <p:nvPr/>
          </p:nvSpPr>
          <p:spPr bwMode="gray">
            <a:xfrm>
              <a:off x="3744913" y="6438106"/>
              <a:ext cx="238125" cy="238125"/>
            </a:xfrm>
            <a:prstGeom prst="ellipse">
              <a:avLst/>
            </a:prstGeom>
            <a:grpFill/>
            <a:ln w="12700">
              <a:solidFill>
                <a:srgbClr val="1F497D"/>
              </a:solidFill>
              <a:round/>
              <a:headEnd/>
              <a:tailEnd/>
            </a:ln>
            <a:effectLst/>
          </p:spPr>
          <p:txBody>
            <a:bodyPr wrap="none" anchor="ctr">
              <a:prstTxWarp prst="textNoShape">
                <a:avLst/>
              </a:prstTxWarp>
              <a:noAutofit/>
            </a:bodyPr>
            <a:lstStyle/>
            <a:p>
              <a:endParaRPr lang="en-GB" dirty="0"/>
            </a:p>
          </p:txBody>
        </p:sp>
        <p:sp>
          <p:nvSpPr>
            <p:cNvPr id="126" name="Freeform 1914"/>
            <p:cNvSpPr>
              <a:spLocks noChangeAspect="1"/>
            </p:cNvSpPr>
            <p:nvPr/>
          </p:nvSpPr>
          <p:spPr bwMode="gray">
            <a:xfrm>
              <a:off x="3800475" y="6501606"/>
              <a:ext cx="115888" cy="103187"/>
            </a:xfrm>
            <a:custGeom>
              <a:avLst/>
              <a:gdLst/>
              <a:ahLst/>
              <a:cxnLst>
                <a:cxn ang="0">
                  <a:pos x="87" y="0"/>
                </a:cxn>
                <a:cxn ang="0">
                  <a:pos x="0" y="36"/>
                </a:cxn>
                <a:cxn ang="0">
                  <a:pos x="87" y="72"/>
                </a:cxn>
              </a:cxnLst>
              <a:rect l="0" t="0" r="r" b="b"/>
              <a:pathLst>
                <a:path w="87" h="72">
                  <a:moveTo>
                    <a:pt x="87" y="0"/>
                  </a:moveTo>
                  <a:lnTo>
                    <a:pt x="0" y="36"/>
                  </a:lnTo>
                  <a:lnTo>
                    <a:pt x="87" y="72"/>
                  </a:lnTo>
                </a:path>
              </a:pathLst>
            </a:custGeom>
            <a:grpFill/>
            <a:ln w="25400" cap="flat" cmpd="sng">
              <a:solidFill>
                <a:schemeClr val="bg1"/>
              </a:solidFill>
              <a:prstDash val="solid"/>
              <a:round/>
              <a:headEnd type="none" w="med" len="med"/>
              <a:tailEnd type="none" w="med" len="med"/>
            </a:ln>
            <a:effectLst/>
          </p:spPr>
          <p:txBody>
            <a:bodyPr wrap="none">
              <a:prstTxWarp prst="textNoShape">
                <a:avLst/>
              </a:prstTxWarp>
              <a:noAutofit/>
            </a:bodyPr>
            <a:lstStyle/>
            <a:p>
              <a:endParaRPr lang="en-GB" dirty="0"/>
            </a:p>
          </p:txBody>
        </p:sp>
        <p:sp>
          <p:nvSpPr>
            <p:cNvPr id="127" name="Oval 1916"/>
            <p:cNvSpPr>
              <a:spLocks noChangeAspect="1" noChangeArrowheads="1"/>
            </p:cNvSpPr>
            <p:nvPr/>
          </p:nvSpPr>
          <p:spPr bwMode="gray">
            <a:xfrm>
              <a:off x="4387850" y="6438106"/>
              <a:ext cx="238125" cy="238125"/>
            </a:xfrm>
            <a:prstGeom prst="ellipse">
              <a:avLst/>
            </a:prstGeom>
            <a:grpFill/>
            <a:ln w="12700">
              <a:solidFill>
                <a:srgbClr val="1F497D"/>
              </a:solidFill>
              <a:round/>
              <a:headEnd/>
              <a:tailEnd/>
            </a:ln>
            <a:effectLst/>
          </p:spPr>
          <p:txBody>
            <a:bodyPr wrap="none" anchor="ctr">
              <a:prstTxWarp prst="textNoShape">
                <a:avLst/>
              </a:prstTxWarp>
              <a:noAutofit/>
            </a:bodyPr>
            <a:lstStyle/>
            <a:p>
              <a:endParaRPr lang="en-GB" dirty="0"/>
            </a:p>
          </p:txBody>
        </p:sp>
        <p:sp>
          <p:nvSpPr>
            <p:cNvPr id="128" name="Freeform 1917"/>
            <p:cNvSpPr>
              <a:spLocks noChangeAspect="1"/>
            </p:cNvSpPr>
            <p:nvPr/>
          </p:nvSpPr>
          <p:spPr bwMode="gray">
            <a:xfrm>
              <a:off x="4452938" y="6488906"/>
              <a:ext cx="98425" cy="87312"/>
            </a:xfrm>
            <a:custGeom>
              <a:avLst/>
              <a:gdLst/>
              <a:ahLst/>
              <a:cxnLst>
                <a:cxn ang="0">
                  <a:pos x="87" y="0"/>
                </a:cxn>
                <a:cxn ang="0">
                  <a:pos x="0" y="36"/>
                </a:cxn>
                <a:cxn ang="0">
                  <a:pos x="87" y="72"/>
                </a:cxn>
              </a:cxnLst>
              <a:rect l="0" t="0" r="r" b="b"/>
              <a:pathLst>
                <a:path w="87" h="72">
                  <a:moveTo>
                    <a:pt x="87" y="0"/>
                  </a:moveTo>
                  <a:lnTo>
                    <a:pt x="0" y="36"/>
                  </a:lnTo>
                  <a:lnTo>
                    <a:pt x="87" y="72"/>
                  </a:lnTo>
                </a:path>
              </a:pathLst>
            </a:custGeom>
            <a:grpFill/>
            <a:ln w="22225" cap="flat" cmpd="sng">
              <a:solidFill>
                <a:schemeClr val="bg1"/>
              </a:solidFill>
              <a:prstDash val="solid"/>
              <a:round/>
              <a:headEnd type="none" w="med" len="med"/>
              <a:tailEnd type="none" w="med" len="med"/>
            </a:ln>
            <a:effectLst/>
          </p:spPr>
          <p:txBody>
            <a:bodyPr wrap="none">
              <a:prstTxWarp prst="textNoShape">
                <a:avLst/>
              </a:prstTxWarp>
              <a:noAutofit/>
            </a:bodyPr>
            <a:lstStyle/>
            <a:p>
              <a:endParaRPr lang="en-GB" dirty="0"/>
            </a:p>
          </p:txBody>
        </p:sp>
        <p:sp>
          <p:nvSpPr>
            <p:cNvPr id="129" name="Line 1918"/>
            <p:cNvSpPr>
              <a:spLocks noChangeAspect="1" noChangeShapeType="1"/>
            </p:cNvSpPr>
            <p:nvPr/>
          </p:nvSpPr>
          <p:spPr bwMode="gray">
            <a:xfrm flipH="1">
              <a:off x="4445000" y="6612731"/>
              <a:ext cx="106363" cy="0"/>
            </a:xfrm>
            <a:prstGeom prst="line">
              <a:avLst/>
            </a:prstGeom>
            <a:grpFill/>
            <a:ln w="22225">
              <a:solidFill>
                <a:schemeClr val="bg1"/>
              </a:solidFill>
              <a:round/>
              <a:headEnd/>
              <a:tailEnd/>
            </a:ln>
            <a:effectLst/>
          </p:spPr>
          <p:txBody>
            <a:bodyPr wrap="none">
              <a:prstTxWarp prst="textNoShape">
                <a:avLst/>
              </a:prstTxWarp>
              <a:noAutofit/>
            </a:bodyPr>
            <a:lstStyle/>
            <a:p>
              <a:endParaRPr lang="en-GB" dirty="0"/>
            </a:p>
          </p:txBody>
        </p:sp>
        <p:sp>
          <p:nvSpPr>
            <p:cNvPr id="130" name="Oval 1921"/>
            <p:cNvSpPr>
              <a:spLocks noChangeAspect="1" noChangeArrowheads="1"/>
            </p:cNvSpPr>
            <p:nvPr/>
          </p:nvSpPr>
          <p:spPr bwMode="gray">
            <a:xfrm>
              <a:off x="868363" y="6438106"/>
              <a:ext cx="238125" cy="238125"/>
            </a:xfrm>
            <a:prstGeom prst="ellipse">
              <a:avLst/>
            </a:prstGeom>
            <a:grpFill/>
            <a:ln w="12700">
              <a:solidFill>
                <a:srgbClr val="1F497D"/>
              </a:solidFill>
              <a:round/>
              <a:headEnd/>
              <a:tailEnd/>
            </a:ln>
            <a:effectLst/>
          </p:spPr>
          <p:txBody>
            <a:bodyPr wrap="none" anchor="ctr">
              <a:prstTxWarp prst="textNoShape">
                <a:avLst/>
              </a:prstTxWarp>
              <a:noAutofit/>
            </a:bodyPr>
            <a:lstStyle/>
            <a:p>
              <a:endParaRPr lang="en-GB" dirty="0"/>
            </a:p>
          </p:txBody>
        </p:sp>
        <p:sp>
          <p:nvSpPr>
            <p:cNvPr id="131" name="Freeform 1922"/>
            <p:cNvSpPr>
              <a:spLocks noChangeAspect="1"/>
            </p:cNvSpPr>
            <p:nvPr/>
          </p:nvSpPr>
          <p:spPr bwMode="gray">
            <a:xfrm>
              <a:off x="901700" y="6557168"/>
              <a:ext cx="171450" cy="1588"/>
            </a:xfrm>
            <a:custGeom>
              <a:avLst/>
              <a:gdLst/>
              <a:ahLst/>
              <a:cxnLst>
                <a:cxn ang="0">
                  <a:pos x="0" y="0"/>
                </a:cxn>
                <a:cxn ang="0">
                  <a:pos x="104" y="0"/>
                </a:cxn>
              </a:cxnLst>
              <a:rect l="0" t="0" r="r" b="b"/>
              <a:pathLst>
                <a:path w="105" h="1">
                  <a:moveTo>
                    <a:pt x="0" y="0"/>
                  </a:moveTo>
                  <a:lnTo>
                    <a:pt x="104" y="0"/>
                  </a:lnTo>
                </a:path>
              </a:pathLst>
            </a:custGeom>
            <a:grpFill/>
            <a:ln w="25400">
              <a:solidFill>
                <a:schemeClr val="bg1"/>
              </a:solidFill>
              <a:round/>
              <a:headEnd type="none" w="med" len="med"/>
              <a:tailEnd type="none" w="med" len="med"/>
            </a:ln>
            <a:effectLst/>
          </p:spPr>
          <p:txBody>
            <a:bodyPr wrap="none" anchor="ctr">
              <a:prstTxWarp prst="textNoShape">
                <a:avLst/>
              </a:prstTxWarp>
              <a:noAutofit/>
            </a:bodyPr>
            <a:lstStyle/>
            <a:p>
              <a:endParaRPr lang="en-GB" dirty="0"/>
            </a:p>
          </p:txBody>
        </p:sp>
        <p:sp>
          <p:nvSpPr>
            <p:cNvPr id="132" name="Oval 1923"/>
            <p:cNvSpPr>
              <a:spLocks noChangeAspect="1" noChangeArrowheads="1"/>
            </p:cNvSpPr>
            <p:nvPr/>
          </p:nvSpPr>
          <p:spPr bwMode="gray">
            <a:xfrm>
              <a:off x="966788" y="6479381"/>
              <a:ext cx="39687" cy="38100"/>
            </a:xfrm>
            <a:prstGeom prst="ellipse">
              <a:avLst/>
            </a:prstGeom>
            <a:grpFill/>
            <a:ln w="12700">
              <a:solidFill>
                <a:schemeClr val="bg1"/>
              </a:solidFill>
              <a:round/>
              <a:headEnd/>
              <a:tailEnd/>
            </a:ln>
            <a:effectLst/>
          </p:spPr>
          <p:txBody>
            <a:bodyPr wrap="none" anchor="ctr">
              <a:prstTxWarp prst="textNoShape">
                <a:avLst/>
              </a:prstTxWarp>
              <a:noAutofit/>
            </a:bodyPr>
            <a:lstStyle/>
            <a:p>
              <a:endParaRPr lang="en-GB" dirty="0"/>
            </a:p>
          </p:txBody>
        </p:sp>
        <p:sp>
          <p:nvSpPr>
            <p:cNvPr id="133" name="Oval 1924"/>
            <p:cNvSpPr>
              <a:spLocks noChangeAspect="1" noChangeArrowheads="1"/>
            </p:cNvSpPr>
            <p:nvPr/>
          </p:nvSpPr>
          <p:spPr bwMode="gray">
            <a:xfrm>
              <a:off x="966788" y="6598443"/>
              <a:ext cx="39687" cy="38100"/>
            </a:xfrm>
            <a:prstGeom prst="ellipse">
              <a:avLst/>
            </a:prstGeom>
            <a:grpFill/>
            <a:ln w="12700">
              <a:solidFill>
                <a:schemeClr val="bg1"/>
              </a:solidFill>
              <a:round/>
              <a:headEnd/>
              <a:tailEnd/>
            </a:ln>
            <a:effectLst/>
          </p:spPr>
          <p:txBody>
            <a:bodyPr wrap="none" anchor="ctr">
              <a:prstTxWarp prst="textNoShape">
                <a:avLst/>
              </a:prstTxWarp>
              <a:noAutofit/>
            </a:bodyPr>
            <a:lstStyle/>
            <a:p>
              <a:endParaRPr lang="en-GB" dirty="0"/>
            </a:p>
          </p:txBody>
        </p:sp>
        <p:sp>
          <p:nvSpPr>
            <p:cNvPr id="134" name="Oval 1926"/>
            <p:cNvSpPr>
              <a:spLocks noChangeAspect="1" noChangeArrowheads="1"/>
            </p:cNvSpPr>
            <p:nvPr/>
          </p:nvSpPr>
          <p:spPr bwMode="gray">
            <a:xfrm>
              <a:off x="1239838" y="6438106"/>
              <a:ext cx="238125" cy="238125"/>
            </a:xfrm>
            <a:prstGeom prst="ellipse">
              <a:avLst/>
            </a:prstGeom>
            <a:grpFill/>
            <a:ln w="12700">
              <a:solidFill>
                <a:srgbClr val="1F497D"/>
              </a:solidFill>
              <a:round/>
              <a:headEnd/>
              <a:tailEnd/>
            </a:ln>
            <a:effectLst/>
          </p:spPr>
          <p:txBody>
            <a:bodyPr wrap="none" anchor="ctr">
              <a:prstTxWarp prst="textNoShape">
                <a:avLst/>
              </a:prstTxWarp>
              <a:noAutofit/>
            </a:bodyPr>
            <a:lstStyle/>
            <a:p>
              <a:endParaRPr lang="en-GB" dirty="0"/>
            </a:p>
          </p:txBody>
        </p:sp>
        <p:sp>
          <p:nvSpPr>
            <p:cNvPr id="135" name="Freeform 1927"/>
            <p:cNvSpPr>
              <a:spLocks noChangeAspect="1"/>
            </p:cNvSpPr>
            <p:nvPr/>
          </p:nvSpPr>
          <p:spPr bwMode="gray">
            <a:xfrm>
              <a:off x="1296988" y="6477793"/>
              <a:ext cx="122237" cy="158750"/>
            </a:xfrm>
            <a:custGeom>
              <a:avLst/>
              <a:gdLst/>
              <a:ahLst/>
              <a:cxnLst>
                <a:cxn ang="0">
                  <a:pos x="0" y="96"/>
                </a:cxn>
                <a:cxn ang="0">
                  <a:pos x="72" y="0"/>
                </a:cxn>
              </a:cxnLst>
              <a:rect l="0" t="0" r="r" b="b"/>
              <a:pathLst>
                <a:path w="73" h="97">
                  <a:moveTo>
                    <a:pt x="0" y="96"/>
                  </a:moveTo>
                  <a:lnTo>
                    <a:pt x="72" y="0"/>
                  </a:lnTo>
                </a:path>
              </a:pathLst>
            </a:custGeom>
            <a:grpFill/>
            <a:ln w="25400">
              <a:solidFill>
                <a:schemeClr val="bg1"/>
              </a:solidFill>
              <a:round/>
              <a:headEnd type="none" w="med" len="med"/>
              <a:tailEnd type="none" w="med" len="med"/>
            </a:ln>
            <a:effectLst/>
          </p:spPr>
          <p:txBody>
            <a:bodyPr wrap="none" anchor="ctr">
              <a:prstTxWarp prst="textNoShape">
                <a:avLst/>
              </a:prstTxWarp>
              <a:noAutofit/>
            </a:bodyPr>
            <a:lstStyle/>
            <a:p>
              <a:endParaRPr lang="en-GB" dirty="0"/>
            </a:p>
          </p:txBody>
        </p:sp>
        <p:sp>
          <p:nvSpPr>
            <p:cNvPr id="136" name="Freeform 1928"/>
            <p:cNvSpPr>
              <a:spLocks noChangeAspect="1"/>
            </p:cNvSpPr>
            <p:nvPr/>
          </p:nvSpPr>
          <p:spPr bwMode="gray">
            <a:xfrm>
              <a:off x="1296988" y="6477793"/>
              <a:ext cx="122237" cy="158750"/>
            </a:xfrm>
            <a:custGeom>
              <a:avLst/>
              <a:gdLst/>
              <a:ahLst/>
              <a:cxnLst>
                <a:cxn ang="0">
                  <a:pos x="0" y="0"/>
                </a:cxn>
                <a:cxn ang="0">
                  <a:pos x="72" y="96"/>
                </a:cxn>
              </a:cxnLst>
              <a:rect l="0" t="0" r="r" b="b"/>
              <a:pathLst>
                <a:path w="73" h="97">
                  <a:moveTo>
                    <a:pt x="0" y="0"/>
                  </a:moveTo>
                  <a:lnTo>
                    <a:pt x="72" y="96"/>
                  </a:lnTo>
                </a:path>
              </a:pathLst>
            </a:custGeom>
            <a:grpFill/>
            <a:ln w="25400">
              <a:solidFill>
                <a:schemeClr val="bg1"/>
              </a:solidFill>
              <a:round/>
              <a:headEnd type="none" w="med" len="med"/>
              <a:tailEnd type="none" w="med" len="med"/>
            </a:ln>
            <a:effectLst/>
          </p:spPr>
          <p:txBody>
            <a:bodyPr wrap="none" anchor="ctr">
              <a:prstTxWarp prst="textNoShape">
                <a:avLst/>
              </a:prstTxWarp>
              <a:noAutofit/>
            </a:bodyPr>
            <a:lstStyle/>
            <a:p>
              <a:endParaRPr lang="en-GB" dirty="0"/>
            </a:p>
          </p:txBody>
        </p:sp>
        <p:sp>
          <p:nvSpPr>
            <p:cNvPr id="137" name="Oval 1930"/>
            <p:cNvSpPr>
              <a:spLocks noChangeAspect="1" noChangeArrowheads="1"/>
            </p:cNvSpPr>
            <p:nvPr/>
          </p:nvSpPr>
          <p:spPr bwMode="gray">
            <a:xfrm>
              <a:off x="1611313" y="6438106"/>
              <a:ext cx="238125" cy="238125"/>
            </a:xfrm>
            <a:prstGeom prst="ellipse">
              <a:avLst/>
            </a:prstGeom>
            <a:grpFill/>
            <a:ln w="12700">
              <a:solidFill>
                <a:srgbClr val="1F497D"/>
              </a:solidFill>
              <a:round/>
              <a:headEnd/>
              <a:tailEnd/>
            </a:ln>
            <a:effectLst/>
          </p:spPr>
          <p:txBody>
            <a:bodyPr wrap="none" anchor="ctr">
              <a:prstTxWarp prst="textNoShape">
                <a:avLst/>
              </a:prstTxWarp>
              <a:noAutofit/>
            </a:bodyPr>
            <a:lstStyle/>
            <a:p>
              <a:endParaRPr lang="en-GB" dirty="0"/>
            </a:p>
          </p:txBody>
        </p:sp>
        <p:sp>
          <p:nvSpPr>
            <p:cNvPr id="138" name="Freeform 1931"/>
            <p:cNvSpPr>
              <a:spLocks noChangeAspect="1"/>
            </p:cNvSpPr>
            <p:nvPr/>
          </p:nvSpPr>
          <p:spPr bwMode="gray">
            <a:xfrm>
              <a:off x="1644650" y="6557168"/>
              <a:ext cx="171450" cy="1588"/>
            </a:xfrm>
            <a:custGeom>
              <a:avLst/>
              <a:gdLst/>
              <a:ahLst/>
              <a:cxnLst>
                <a:cxn ang="0">
                  <a:pos x="0" y="0"/>
                </a:cxn>
                <a:cxn ang="0">
                  <a:pos x="104" y="0"/>
                </a:cxn>
              </a:cxnLst>
              <a:rect l="0" t="0" r="r" b="b"/>
              <a:pathLst>
                <a:path w="105" h="1">
                  <a:moveTo>
                    <a:pt x="0" y="0"/>
                  </a:moveTo>
                  <a:lnTo>
                    <a:pt x="104" y="0"/>
                  </a:lnTo>
                </a:path>
              </a:pathLst>
            </a:custGeom>
            <a:grpFill/>
            <a:ln w="25400">
              <a:solidFill>
                <a:schemeClr val="bg1"/>
              </a:solidFill>
              <a:round/>
              <a:headEnd type="none" w="med" len="med"/>
              <a:tailEnd type="none" w="med" len="med"/>
            </a:ln>
            <a:effectLst/>
          </p:spPr>
          <p:txBody>
            <a:bodyPr wrap="none" anchor="ctr">
              <a:prstTxWarp prst="textNoShape">
                <a:avLst/>
              </a:prstTxWarp>
              <a:noAutofit/>
            </a:bodyPr>
            <a:lstStyle/>
            <a:p>
              <a:endParaRPr lang="en-GB" dirty="0"/>
            </a:p>
          </p:txBody>
        </p:sp>
        <p:sp>
          <p:nvSpPr>
            <p:cNvPr id="139" name="Freeform 1932"/>
            <p:cNvSpPr>
              <a:spLocks noChangeAspect="1"/>
            </p:cNvSpPr>
            <p:nvPr/>
          </p:nvSpPr>
          <p:spPr bwMode="gray">
            <a:xfrm>
              <a:off x="1730375" y="6469856"/>
              <a:ext cx="0" cy="174625"/>
            </a:xfrm>
            <a:custGeom>
              <a:avLst/>
              <a:gdLst/>
              <a:ahLst/>
              <a:cxnLst>
                <a:cxn ang="0">
                  <a:pos x="0" y="0"/>
                </a:cxn>
                <a:cxn ang="0">
                  <a:pos x="0" y="104"/>
                </a:cxn>
              </a:cxnLst>
              <a:rect l="0" t="0" r="r" b="b"/>
              <a:pathLst>
                <a:path w="1" h="105">
                  <a:moveTo>
                    <a:pt x="0" y="0"/>
                  </a:moveTo>
                  <a:lnTo>
                    <a:pt x="0" y="104"/>
                  </a:lnTo>
                </a:path>
              </a:pathLst>
            </a:custGeom>
            <a:grpFill/>
            <a:ln w="25400">
              <a:solidFill>
                <a:schemeClr val="bg1"/>
              </a:solidFill>
              <a:round/>
              <a:headEnd type="none" w="med" len="med"/>
              <a:tailEnd type="none" w="med" len="med"/>
            </a:ln>
            <a:effectLst/>
          </p:spPr>
          <p:txBody>
            <a:bodyPr wrap="none" anchor="ctr">
              <a:prstTxWarp prst="textNoShape">
                <a:avLst/>
              </a:prstTxWarp>
              <a:noAutofit/>
            </a:bodyPr>
            <a:lstStyle/>
            <a:p>
              <a:endParaRPr lang="en-GB" dirty="0"/>
            </a:p>
          </p:txBody>
        </p:sp>
        <p:sp>
          <p:nvSpPr>
            <p:cNvPr id="140" name="Oval 1934"/>
            <p:cNvSpPr>
              <a:spLocks noChangeAspect="1" noChangeArrowheads="1"/>
            </p:cNvSpPr>
            <p:nvPr/>
          </p:nvSpPr>
          <p:spPr bwMode="gray">
            <a:xfrm>
              <a:off x="1982788" y="6438106"/>
              <a:ext cx="238125" cy="238125"/>
            </a:xfrm>
            <a:prstGeom prst="ellipse">
              <a:avLst/>
            </a:prstGeom>
            <a:grpFill/>
            <a:ln w="12700">
              <a:solidFill>
                <a:srgbClr val="1F497D"/>
              </a:solidFill>
              <a:round/>
              <a:headEnd/>
              <a:tailEnd/>
            </a:ln>
            <a:effectLst/>
          </p:spPr>
          <p:txBody>
            <a:bodyPr wrap="none" anchor="ctr">
              <a:prstTxWarp prst="textNoShape">
                <a:avLst/>
              </a:prstTxWarp>
              <a:noAutofit/>
            </a:bodyPr>
            <a:lstStyle/>
            <a:p>
              <a:endParaRPr lang="en-GB" dirty="0"/>
            </a:p>
          </p:txBody>
        </p:sp>
        <p:sp>
          <p:nvSpPr>
            <p:cNvPr id="141" name="Freeform 1935"/>
            <p:cNvSpPr>
              <a:spLocks noChangeAspect="1"/>
            </p:cNvSpPr>
            <p:nvPr/>
          </p:nvSpPr>
          <p:spPr bwMode="gray">
            <a:xfrm>
              <a:off x="2014538" y="6557168"/>
              <a:ext cx="173037" cy="1588"/>
            </a:xfrm>
            <a:custGeom>
              <a:avLst/>
              <a:gdLst/>
              <a:ahLst/>
              <a:cxnLst>
                <a:cxn ang="0">
                  <a:pos x="0" y="0"/>
                </a:cxn>
                <a:cxn ang="0">
                  <a:pos x="104" y="0"/>
                </a:cxn>
              </a:cxnLst>
              <a:rect l="0" t="0" r="r" b="b"/>
              <a:pathLst>
                <a:path w="105" h="1">
                  <a:moveTo>
                    <a:pt x="0" y="0"/>
                  </a:moveTo>
                  <a:lnTo>
                    <a:pt x="104" y="0"/>
                  </a:lnTo>
                </a:path>
              </a:pathLst>
            </a:custGeom>
            <a:grpFill/>
            <a:ln w="25400">
              <a:solidFill>
                <a:schemeClr val="bg1"/>
              </a:solidFill>
              <a:round/>
              <a:headEnd type="none" w="med" len="med"/>
              <a:tailEnd type="none" w="med" len="med"/>
            </a:ln>
            <a:effectLst/>
          </p:spPr>
          <p:txBody>
            <a:bodyPr wrap="none" anchor="ctr">
              <a:prstTxWarp prst="textNoShape">
                <a:avLst/>
              </a:prstTxWarp>
              <a:noAutofit/>
            </a:bodyPr>
            <a:lstStyle/>
            <a:p>
              <a:endParaRPr lang="en-GB" dirty="0"/>
            </a:p>
          </p:txBody>
        </p:sp>
        <p:sp>
          <p:nvSpPr>
            <p:cNvPr id="142" name="Oval 1937"/>
            <p:cNvSpPr>
              <a:spLocks noChangeAspect="1" noChangeArrowheads="1"/>
            </p:cNvSpPr>
            <p:nvPr/>
          </p:nvSpPr>
          <p:spPr bwMode="gray">
            <a:xfrm>
              <a:off x="2330450" y="6438106"/>
              <a:ext cx="238125" cy="238125"/>
            </a:xfrm>
            <a:prstGeom prst="ellipse">
              <a:avLst/>
            </a:prstGeom>
            <a:grpFill/>
            <a:ln w="12700">
              <a:solidFill>
                <a:srgbClr val="1F497D"/>
              </a:solidFill>
              <a:round/>
              <a:headEnd/>
              <a:tailEnd/>
            </a:ln>
            <a:effectLst/>
          </p:spPr>
          <p:txBody>
            <a:bodyPr wrap="none" anchor="ctr">
              <a:prstTxWarp prst="textNoShape">
                <a:avLst/>
              </a:prstTxWarp>
              <a:noAutofit/>
            </a:bodyPr>
            <a:lstStyle/>
            <a:p>
              <a:endParaRPr lang="en-GB" dirty="0"/>
            </a:p>
          </p:txBody>
        </p:sp>
        <p:sp>
          <p:nvSpPr>
            <p:cNvPr id="143" name="Freeform 1938"/>
            <p:cNvSpPr>
              <a:spLocks noChangeAspect="1"/>
            </p:cNvSpPr>
            <p:nvPr/>
          </p:nvSpPr>
          <p:spPr bwMode="gray">
            <a:xfrm>
              <a:off x="2363788" y="6539706"/>
              <a:ext cx="171450" cy="1587"/>
            </a:xfrm>
            <a:custGeom>
              <a:avLst/>
              <a:gdLst/>
              <a:ahLst/>
              <a:cxnLst>
                <a:cxn ang="0">
                  <a:pos x="0" y="0"/>
                </a:cxn>
                <a:cxn ang="0">
                  <a:pos x="104" y="0"/>
                </a:cxn>
              </a:cxnLst>
              <a:rect l="0" t="0" r="r" b="b"/>
              <a:pathLst>
                <a:path w="105" h="1">
                  <a:moveTo>
                    <a:pt x="0" y="0"/>
                  </a:moveTo>
                  <a:lnTo>
                    <a:pt x="104" y="0"/>
                  </a:lnTo>
                </a:path>
              </a:pathLst>
            </a:custGeom>
            <a:grpFill/>
            <a:ln w="25400">
              <a:solidFill>
                <a:schemeClr val="bg1"/>
              </a:solidFill>
              <a:round/>
              <a:headEnd type="none" w="med" len="med"/>
              <a:tailEnd type="none" w="med" len="med"/>
            </a:ln>
            <a:effectLst/>
          </p:spPr>
          <p:txBody>
            <a:bodyPr wrap="none" anchor="ctr">
              <a:prstTxWarp prst="textNoShape">
                <a:avLst/>
              </a:prstTxWarp>
              <a:noAutofit/>
            </a:bodyPr>
            <a:lstStyle/>
            <a:p>
              <a:endParaRPr lang="en-GB" dirty="0"/>
            </a:p>
          </p:txBody>
        </p:sp>
        <p:sp>
          <p:nvSpPr>
            <p:cNvPr id="144" name="Freeform 1940"/>
            <p:cNvSpPr>
              <a:spLocks noChangeAspect="1"/>
            </p:cNvSpPr>
            <p:nvPr/>
          </p:nvSpPr>
          <p:spPr bwMode="gray">
            <a:xfrm>
              <a:off x="2363788" y="6541293"/>
              <a:ext cx="171450" cy="1588"/>
            </a:xfrm>
            <a:custGeom>
              <a:avLst/>
              <a:gdLst/>
              <a:ahLst/>
              <a:cxnLst>
                <a:cxn ang="0">
                  <a:pos x="0" y="0"/>
                </a:cxn>
                <a:cxn ang="0">
                  <a:pos x="104" y="0"/>
                </a:cxn>
              </a:cxnLst>
              <a:rect l="0" t="0" r="r" b="b"/>
              <a:pathLst>
                <a:path w="105" h="1">
                  <a:moveTo>
                    <a:pt x="0" y="0"/>
                  </a:moveTo>
                  <a:lnTo>
                    <a:pt x="104" y="0"/>
                  </a:lnTo>
                </a:path>
              </a:pathLst>
            </a:custGeom>
            <a:grpFill/>
            <a:ln w="25400">
              <a:solidFill>
                <a:schemeClr val="bg1"/>
              </a:solidFill>
              <a:round/>
              <a:headEnd type="none" w="med" len="med"/>
              <a:tailEnd type="none" w="med" len="med"/>
            </a:ln>
            <a:effectLst/>
          </p:spPr>
          <p:txBody>
            <a:bodyPr wrap="none" anchor="ctr">
              <a:prstTxWarp prst="textNoShape">
                <a:avLst/>
              </a:prstTxWarp>
              <a:noAutofit/>
            </a:bodyPr>
            <a:lstStyle/>
            <a:p>
              <a:endParaRPr lang="en-GB" dirty="0"/>
            </a:p>
          </p:txBody>
        </p:sp>
        <p:sp>
          <p:nvSpPr>
            <p:cNvPr id="145" name="Freeform 1941"/>
            <p:cNvSpPr>
              <a:spLocks noChangeAspect="1"/>
            </p:cNvSpPr>
            <p:nvPr/>
          </p:nvSpPr>
          <p:spPr bwMode="gray">
            <a:xfrm>
              <a:off x="2363788" y="6585743"/>
              <a:ext cx="171450" cy="1588"/>
            </a:xfrm>
            <a:custGeom>
              <a:avLst/>
              <a:gdLst/>
              <a:ahLst/>
              <a:cxnLst>
                <a:cxn ang="0">
                  <a:pos x="0" y="0"/>
                </a:cxn>
                <a:cxn ang="0">
                  <a:pos x="104" y="0"/>
                </a:cxn>
              </a:cxnLst>
              <a:rect l="0" t="0" r="r" b="b"/>
              <a:pathLst>
                <a:path w="105" h="1">
                  <a:moveTo>
                    <a:pt x="0" y="0"/>
                  </a:moveTo>
                  <a:lnTo>
                    <a:pt x="104" y="0"/>
                  </a:lnTo>
                </a:path>
              </a:pathLst>
            </a:custGeom>
            <a:grpFill/>
            <a:ln w="25400">
              <a:solidFill>
                <a:schemeClr val="bg1"/>
              </a:solidFill>
              <a:round/>
              <a:headEnd type="none" w="med" len="med"/>
              <a:tailEnd type="none" w="med" len="med"/>
            </a:ln>
            <a:effectLst/>
          </p:spPr>
          <p:txBody>
            <a:bodyPr wrap="none" anchor="ctr">
              <a:prstTxWarp prst="textNoShape">
                <a:avLst/>
              </a:prstTxWarp>
              <a:noAutofit/>
            </a:bodyPr>
            <a:lstStyle/>
            <a:p>
              <a:endParaRPr lang="en-GB" dirty="0"/>
            </a:p>
          </p:txBody>
        </p:sp>
      </p:grpSp>
      <p:sp>
        <p:nvSpPr>
          <p:cNvPr id="111" name="Text Box 32"/>
          <p:cNvSpPr txBox="1">
            <a:spLocks noChangeArrowheads="1"/>
          </p:cNvSpPr>
          <p:nvPr/>
        </p:nvSpPr>
        <p:spPr bwMode="gray">
          <a:xfrm>
            <a:off x="7341653" y="1385478"/>
            <a:ext cx="1073150" cy="498582"/>
          </a:xfrm>
          <a:prstGeom prst="rect">
            <a:avLst/>
          </a:prstGeom>
          <a:noFill/>
          <a:ln w="9525">
            <a:noFill/>
            <a:miter lim="800000"/>
            <a:headEnd/>
            <a:tailEnd/>
          </a:ln>
          <a:effectLst/>
        </p:spPr>
        <p:txBody>
          <a:bodyPr lIns="91424" tIns="45712" rIns="91424" bIns="45712">
            <a:prstTxWarp prst="textNoShape">
              <a:avLst/>
            </a:prstTxWarp>
            <a:spAutoFit/>
          </a:bodyPr>
          <a:lstStyle/>
          <a:p>
            <a:pPr>
              <a:spcAft>
                <a:spcPct val="20000"/>
              </a:spcAft>
            </a:pPr>
            <a:r>
              <a:rPr lang="en-AU" sz="1200" dirty="0">
                <a:solidFill>
                  <a:srgbClr val="1F497D"/>
                </a:solidFill>
                <a:latin typeface="Garamond"/>
              </a:rPr>
              <a:t>Legend label</a:t>
            </a:r>
          </a:p>
          <a:p>
            <a:pPr>
              <a:spcAft>
                <a:spcPct val="20000"/>
              </a:spcAft>
            </a:pPr>
            <a:r>
              <a:rPr lang="en-AU" sz="1200" dirty="0">
                <a:solidFill>
                  <a:srgbClr val="1F497D"/>
                </a:solidFill>
                <a:latin typeface="Garamond"/>
              </a:rPr>
              <a:t>Legend label</a:t>
            </a:r>
          </a:p>
        </p:txBody>
      </p:sp>
    </p:spTree>
    <p:extLst>
      <p:ext uri="{BB962C8B-B14F-4D97-AF65-F5344CB8AC3E}">
        <p14:creationId xmlns:p14="http://schemas.microsoft.com/office/powerpoint/2010/main" val="127169332"/>
      </p:ext>
    </p:extLst>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704530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41" name="think-cell Slide" r:id="rId8" imgW="6350000" imgH="6350000" progId="TCLayout.ActiveDocument.1">
                  <p:embed/>
                </p:oleObj>
              </mc:Choice>
              <mc:Fallback>
                <p:oleObj name="think-cell Slide" r:id="rId8" imgW="6350000" imgH="6350000" progId="TCLayout.ActiveDocument.1">
                  <p:embed/>
                  <p:pic>
                    <p:nvPicPr>
                      <p:cNvPr id="0" name="Picture 10"/>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ight Arrow 13"/>
          <p:cNvSpPr/>
          <p:nvPr/>
        </p:nvSpPr>
        <p:spPr>
          <a:xfrm>
            <a:off x="5798955" y="2366948"/>
            <a:ext cx="2139601" cy="3073125"/>
          </a:xfrm>
          <a:prstGeom prst="rightArrow">
            <a:avLst/>
          </a:prstGeom>
          <a:solidFill>
            <a:schemeClr val="tx2"/>
          </a:solidFill>
          <a:ln w="9525" cap="rnd" cmpd="sng">
            <a:solidFill>
              <a:schemeClr val="bg1"/>
            </a:solidFill>
            <a:prstDash val="solid"/>
            <a:round/>
            <a:headEnd type="none" w="sm" len="sm"/>
            <a:tailEnd type="none" w="sm" len="sm"/>
          </a:ln>
          <a:effectLst/>
        </p:spPr>
        <p:txBody>
          <a:bodyPr anchor="ctr" anchorCtr="0">
            <a:prstTxWarp prst="textNoShape">
              <a:avLst/>
            </a:prstTxWarp>
          </a:bodyPr>
          <a:lstStyle/>
          <a:p>
            <a:pPr algn="r"/>
            <a:r>
              <a:rPr lang="en-GB" sz="1600" dirty="0">
                <a:solidFill>
                  <a:srgbClr val="FFFFFF"/>
                </a:solidFill>
                <a:latin typeface="Garamond"/>
              </a:rPr>
              <a:t>Text</a:t>
            </a:r>
          </a:p>
        </p:txBody>
      </p:sp>
      <p:sp>
        <p:nvSpPr>
          <p:cNvPr id="15" name="Right Arrow 14"/>
          <p:cNvSpPr/>
          <p:nvPr/>
        </p:nvSpPr>
        <p:spPr>
          <a:xfrm>
            <a:off x="4339637" y="2702892"/>
            <a:ext cx="2139601" cy="2401237"/>
          </a:xfrm>
          <a:prstGeom prst="rightArrow">
            <a:avLst/>
          </a:prstGeom>
          <a:solidFill>
            <a:schemeClr val="tx2"/>
          </a:solidFill>
          <a:ln w="9525" cap="rnd" cmpd="sng">
            <a:solidFill>
              <a:schemeClr val="bg1"/>
            </a:solidFill>
            <a:prstDash val="solid"/>
            <a:round/>
            <a:headEnd type="none" w="sm" len="sm"/>
            <a:tailEnd type="none" w="sm" len="sm"/>
          </a:ln>
          <a:effectLst/>
        </p:spPr>
        <p:txBody>
          <a:bodyPr anchor="ctr" anchorCtr="0">
            <a:prstTxWarp prst="textNoShape">
              <a:avLst/>
            </a:prstTxWarp>
          </a:bodyPr>
          <a:lstStyle/>
          <a:p>
            <a:pPr algn="r"/>
            <a:r>
              <a:rPr lang="en-GB" sz="1600" dirty="0">
                <a:solidFill>
                  <a:srgbClr val="FFFFFF"/>
                </a:solidFill>
                <a:latin typeface="Garamond"/>
              </a:rPr>
              <a:t>Text</a:t>
            </a:r>
          </a:p>
        </p:txBody>
      </p:sp>
      <p:sp>
        <p:nvSpPr>
          <p:cNvPr id="16" name="Right Arrow 15"/>
          <p:cNvSpPr/>
          <p:nvPr/>
        </p:nvSpPr>
        <p:spPr>
          <a:xfrm>
            <a:off x="2880319" y="3032633"/>
            <a:ext cx="2139601" cy="1741756"/>
          </a:xfrm>
          <a:prstGeom prst="rightArrow">
            <a:avLst/>
          </a:prstGeom>
          <a:solidFill>
            <a:schemeClr val="tx2"/>
          </a:solidFill>
          <a:ln w="9525" cap="rnd" cmpd="sng">
            <a:solidFill>
              <a:schemeClr val="bg1"/>
            </a:solidFill>
            <a:prstDash val="solid"/>
            <a:round/>
            <a:headEnd type="none" w="sm" len="sm"/>
            <a:tailEnd type="none" w="sm" len="sm"/>
          </a:ln>
          <a:effectLst/>
        </p:spPr>
        <p:txBody>
          <a:bodyPr anchor="ctr" anchorCtr="0">
            <a:prstTxWarp prst="textNoShape">
              <a:avLst/>
            </a:prstTxWarp>
          </a:bodyPr>
          <a:lstStyle/>
          <a:p>
            <a:pPr algn="ctr"/>
            <a:r>
              <a:rPr lang="en-GB" sz="1600" dirty="0">
                <a:solidFill>
                  <a:srgbClr val="FFFFFF"/>
                </a:solidFill>
                <a:latin typeface="Garamond"/>
              </a:rPr>
              <a:t>Text</a:t>
            </a:r>
          </a:p>
        </p:txBody>
      </p:sp>
      <p:sp>
        <p:nvSpPr>
          <p:cNvPr id="22" name="Freeform 4"/>
          <p:cNvSpPr>
            <a:spLocks/>
          </p:cNvSpPr>
          <p:nvPr/>
        </p:nvSpPr>
        <p:spPr bwMode="auto">
          <a:xfrm>
            <a:off x="1274865" y="3339866"/>
            <a:ext cx="2021054" cy="1127288"/>
          </a:xfrm>
          <a:custGeom>
            <a:avLst/>
            <a:gdLst>
              <a:gd name="T0" fmla="*/ 0 w 1978"/>
              <a:gd name="T1" fmla="*/ 425433 h 2696"/>
              <a:gd name="T2" fmla="*/ 2533059 w 1978"/>
              <a:gd name="T3" fmla="*/ 425433 h 2696"/>
              <a:gd name="T4" fmla="*/ 2533059 w 1978"/>
              <a:gd name="T5" fmla="*/ 0 h 2696"/>
              <a:gd name="T6" fmla="*/ 3201955 w 1978"/>
              <a:gd name="T7" fmla="*/ 1702985 h 2696"/>
              <a:gd name="T8" fmla="*/ 2533059 w 1978"/>
              <a:gd name="T9" fmla="*/ 3372186 h 2696"/>
              <a:gd name="T10" fmla="*/ 2533059 w 1978"/>
              <a:gd name="T11" fmla="*/ 2993049 h 2696"/>
              <a:gd name="T12" fmla="*/ 0 w 1978"/>
              <a:gd name="T13" fmla="*/ 2993049 h 269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78" h="2696">
                <a:moveTo>
                  <a:pt x="0" y="340"/>
                </a:moveTo>
                <a:lnTo>
                  <a:pt x="1564" y="340"/>
                </a:lnTo>
                <a:lnTo>
                  <a:pt x="1564" y="0"/>
                </a:lnTo>
                <a:lnTo>
                  <a:pt x="1977" y="1361"/>
                </a:lnTo>
                <a:lnTo>
                  <a:pt x="1564" y="2695"/>
                </a:lnTo>
                <a:lnTo>
                  <a:pt x="1564" y="2392"/>
                </a:lnTo>
                <a:lnTo>
                  <a:pt x="0" y="2392"/>
                </a:lnTo>
              </a:path>
            </a:pathLst>
          </a:custGeom>
          <a:solidFill>
            <a:schemeClr val="tx2"/>
          </a:solidFill>
          <a:ln w="9525" cap="rnd" cmpd="sng">
            <a:solidFill>
              <a:schemeClr val="bg1"/>
            </a:solidFill>
            <a:prstDash val="solid"/>
            <a:round/>
            <a:headEnd type="none" w="sm" len="sm"/>
            <a:tailEnd type="none" w="sm" len="sm"/>
          </a:ln>
          <a:effectLst/>
        </p:spPr>
        <p:txBody>
          <a:bodyPr anchor="ctr" anchorCtr="0">
            <a:prstTxWarp prst="textNoShape">
              <a:avLst/>
            </a:prstTxWarp>
          </a:bodyPr>
          <a:lstStyle/>
          <a:p>
            <a:pPr algn="ctr"/>
            <a:r>
              <a:rPr lang="en-GB" sz="1600" dirty="0">
                <a:solidFill>
                  <a:srgbClr val="FFFFFF"/>
                </a:solidFill>
                <a:latin typeface="Garamond"/>
              </a:rPr>
              <a:t>Text</a:t>
            </a:r>
          </a:p>
        </p:txBody>
      </p:sp>
      <p:cxnSp>
        <p:nvCxnSpPr>
          <p:cNvPr id="25" name="Straight Connector 24"/>
          <p:cNvCxnSpPr/>
          <p:nvPr/>
        </p:nvCxnSpPr>
        <p:spPr>
          <a:xfrm rot="10800000">
            <a:off x="1259745" y="2380897"/>
            <a:ext cx="5609011" cy="9614"/>
          </a:xfrm>
          <a:prstGeom prst="line">
            <a:avLst/>
          </a:prstGeom>
          <a:solidFill>
            <a:srgbClr val="FFFFFF"/>
          </a:solidFill>
          <a:ln w="9525" cap="flat" cmpd="sng" algn="ctr">
            <a:solidFill>
              <a:srgbClr val="1F497D"/>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p:nvCxnSpPr>
        <p:spPr>
          <a:xfrm rot="10800000">
            <a:off x="1259746" y="5407934"/>
            <a:ext cx="5609011" cy="9614"/>
          </a:xfrm>
          <a:prstGeom prst="line">
            <a:avLst/>
          </a:prstGeom>
          <a:solidFill>
            <a:srgbClr val="FFFFFF"/>
          </a:solidFill>
          <a:ln w="9525" cap="flat" cmpd="sng" algn="ctr">
            <a:solidFill>
              <a:srgbClr val="1F497D"/>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rot="10800000">
            <a:off x="1259745" y="2728292"/>
            <a:ext cx="4149267" cy="7165"/>
          </a:xfrm>
          <a:prstGeom prst="line">
            <a:avLst/>
          </a:prstGeom>
          <a:solidFill>
            <a:srgbClr val="FFFFFF"/>
          </a:solidFill>
          <a:ln w="9525" cap="flat" cmpd="sng" algn="ctr">
            <a:solidFill>
              <a:srgbClr val="1F497D"/>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p:nvCxnSpPr>
        <p:spPr>
          <a:xfrm rot="10800000">
            <a:off x="1259746" y="5074439"/>
            <a:ext cx="4149267" cy="7165"/>
          </a:xfrm>
          <a:prstGeom prst="line">
            <a:avLst/>
          </a:prstGeom>
          <a:solidFill>
            <a:srgbClr val="FFFFFF"/>
          </a:solidFill>
          <a:ln w="9525" cap="flat" cmpd="sng" algn="ctr">
            <a:solidFill>
              <a:srgbClr val="1F497D"/>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p:nvCxnSpPr>
        <p:spPr>
          <a:xfrm rot="10800000">
            <a:off x="1259744" y="3050375"/>
            <a:ext cx="2921361" cy="4970"/>
          </a:xfrm>
          <a:prstGeom prst="line">
            <a:avLst/>
          </a:prstGeom>
          <a:solidFill>
            <a:srgbClr val="FFFFFF"/>
          </a:solidFill>
          <a:ln w="9525" cap="flat" cmpd="sng" algn="ctr">
            <a:solidFill>
              <a:srgbClr val="1F497D"/>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p:nvCxnSpPr>
        <p:spPr>
          <a:xfrm rot="10800000">
            <a:off x="1259745" y="4746360"/>
            <a:ext cx="2921361" cy="4970"/>
          </a:xfrm>
          <a:prstGeom prst="line">
            <a:avLst/>
          </a:prstGeom>
          <a:solidFill>
            <a:srgbClr val="FFFFFF"/>
          </a:solidFill>
          <a:ln w="9525" cap="flat" cmpd="sng" algn="ctr">
            <a:solidFill>
              <a:srgbClr val="1F497D"/>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p:nvCxnSpPr>
        <p:spPr>
          <a:xfrm rot="10800000">
            <a:off x="1262494" y="3364304"/>
            <a:ext cx="1609146" cy="3141"/>
          </a:xfrm>
          <a:prstGeom prst="line">
            <a:avLst/>
          </a:prstGeom>
          <a:ln w="9525" cap="flat" cmpd="sng" algn="ctr">
            <a:solidFill>
              <a:srgbClr val="1F497D"/>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p:nvCxnSpPr>
        <p:spPr>
          <a:xfrm rot="10800000">
            <a:off x="1259745" y="4437616"/>
            <a:ext cx="1609146" cy="3141"/>
          </a:xfrm>
          <a:prstGeom prst="line">
            <a:avLst/>
          </a:prstGeom>
          <a:ln w="9525" cap="flat" cmpd="sng" algn="ctr">
            <a:solidFill>
              <a:srgbClr val="1F497D"/>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7" name="Title 3"/>
          <p:cNvSpPr txBox="1">
            <a:spLocks/>
          </p:cNvSpPr>
          <p:nvPr>
            <p:custDataLst>
              <p:tags r:id="rId3"/>
            </p:custDataLst>
          </p:nvPr>
        </p:nvSpPr>
        <p:spPr>
          <a:xfrm>
            <a:off x="754204" y="5545148"/>
            <a:ext cx="6891495" cy="822961"/>
          </a:xfrm>
          <a:prstGeom prst="rect">
            <a:avLst/>
          </a:prstGeom>
        </p:spPr>
        <p:txBody>
          <a:bodyPr vert="horz" lIns="80133" tIns="40067" rIns="80133" bIns="40067" rtlCol="0" anchor="b" anchorCtr="0">
            <a:normAutofit/>
          </a:bodyPr>
          <a:lstStyle>
            <a:lvl1pPr algn="l" defTabSz="914239" rtl="0" eaLnBrk="1" latinLnBrk="0" hangingPunct="1">
              <a:spcBef>
                <a:spcPct val="0"/>
              </a:spcBef>
              <a:buNone/>
              <a:defRPr sz="2800" kern="1200">
                <a:solidFill>
                  <a:schemeClr val="accent1"/>
                </a:solidFill>
                <a:latin typeface="Garamond" pitchFamily="18" charset="0"/>
                <a:ea typeface="+mj-ea"/>
                <a:cs typeface="+mj-cs"/>
              </a:defRPr>
            </a:lvl1pPr>
          </a:lstStyle>
          <a:p>
            <a:r>
              <a:rPr lang="en-GB" sz="1200" dirty="0">
                <a:solidFill>
                  <a:schemeClr val="tx2"/>
                </a:solidFill>
              </a:rPr>
              <a:t>Footnotes and assumptions: list</a:t>
            </a:r>
          </a:p>
          <a:p>
            <a:r>
              <a:rPr lang="en-GB" sz="1200" dirty="0">
                <a:solidFill>
                  <a:schemeClr val="tx2"/>
                </a:solidFill>
              </a:rPr>
              <a:t>Source: List sources</a:t>
            </a:r>
          </a:p>
        </p:txBody>
      </p:sp>
      <p:sp>
        <p:nvSpPr>
          <p:cNvPr id="28" name="Rectangle 4"/>
          <p:cNvSpPr>
            <a:spLocks noGrp="1" noChangeArrowheads="1"/>
          </p:cNvSpPr>
          <p:nvPr>
            <p:ph type="title"/>
            <p:custDataLst>
              <p:tags r:id="rId4"/>
            </p:custDataLst>
          </p:nvPr>
        </p:nvSpPr>
        <p:spPr/>
        <p:txBody>
          <a:bodyPr/>
          <a:lstStyle/>
          <a:p>
            <a:r>
              <a:rPr lang="en-GB" dirty="0" smtClean="0"/>
              <a:t>Message title – </a:t>
            </a:r>
            <a:r>
              <a:rPr lang="en-US" dirty="0" smtClean="0"/>
              <a:t>why are you showing it? flow</a:t>
            </a:r>
            <a:endParaRPr lang="en-GB" dirty="0"/>
          </a:p>
        </p:txBody>
      </p:sp>
      <p:sp>
        <p:nvSpPr>
          <p:cNvPr id="5" name="Footer Placeholder 4"/>
          <p:cNvSpPr>
            <a:spLocks noGrp="1"/>
          </p:cNvSpPr>
          <p:nvPr>
            <p:ph type="ftr" sz="quarter" idx="3"/>
          </p:nvPr>
        </p:nvSpPr>
        <p:spPr/>
        <p:txBody>
          <a:bodyPr/>
          <a:lstStyle/>
          <a:p>
            <a:r>
              <a:rPr lang="en-US" dirty="0" smtClean="0"/>
              <a:t>neil young |neil@ogcommunicationdesign.com |www.ogcommunicationdesign.com</a:t>
            </a:r>
            <a:endParaRPr lang="en-US" dirty="0"/>
          </a:p>
        </p:txBody>
      </p:sp>
      <p:sp>
        <p:nvSpPr>
          <p:cNvPr id="32" name="Slide Number Placeholder 1"/>
          <p:cNvSpPr>
            <a:spLocks noGrp="1"/>
          </p:cNvSpPr>
          <p:nvPr>
            <p:ph type="sldNum" sz="quarter" idx="4"/>
            <p:custDataLst>
              <p:tags r:id="rId5"/>
            </p:custDataLst>
          </p:nvPr>
        </p:nvSpPr>
        <p:spPr/>
        <p:txBody>
          <a:bodyPr/>
          <a:lstStyle/>
          <a:p>
            <a:fld id="{9EA32989-03B0-4860-BCBF-38A6D1811E33}" type="slidenum">
              <a:rPr lang="en-GB" smtClean="0"/>
              <a:pPr/>
              <a:t>19</a:t>
            </a:fld>
            <a:endParaRPr lang="en-GB" dirty="0"/>
          </a:p>
        </p:txBody>
      </p:sp>
      <p:sp>
        <p:nvSpPr>
          <p:cNvPr id="23" name="TextBox 22"/>
          <p:cNvSpPr txBox="1"/>
          <p:nvPr>
            <p:custDataLst>
              <p:tags r:id="rId6"/>
            </p:custDataLst>
          </p:nvPr>
        </p:nvSpPr>
        <p:spPr>
          <a:xfrm>
            <a:off x="755338" y="1481982"/>
            <a:ext cx="7606753" cy="362896"/>
          </a:xfrm>
          <a:prstGeom prst="rect">
            <a:avLst/>
          </a:prstGeom>
          <a:noFill/>
        </p:spPr>
        <p:txBody>
          <a:bodyPr wrap="square" lIns="80147" tIns="40074" rIns="80147" bIns="40074" rtlCol="0">
            <a:spAutoFit/>
          </a:bodyPr>
          <a:lstStyle/>
          <a:p>
            <a:r>
              <a:rPr lang="en-ZW" dirty="0">
                <a:latin typeface="Garamond" pitchFamily="18" charset="0"/>
              </a:rPr>
              <a:t>Title – what are you showing on this page?</a:t>
            </a:r>
          </a:p>
        </p:txBody>
      </p:sp>
    </p:spTree>
    <p:extLst>
      <p:ext uri="{BB962C8B-B14F-4D97-AF65-F5344CB8AC3E}">
        <p14:creationId xmlns:p14="http://schemas.microsoft.com/office/powerpoint/2010/main" val="127169332"/>
      </p:ext>
    </p:extLst>
  </p:cSld>
  <p:clrMapOvr>
    <a:masterClrMapping/>
  </p:clrMapOvr>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7888335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37" name="think-cell Slide" r:id="rId27" imgW="6350000" imgH="6350000" progId="TCLayout.ActiveDocument.1">
                  <p:embed/>
                </p:oleObj>
              </mc:Choice>
              <mc:Fallback>
                <p:oleObj name="think-cell Slide" r:id="rId27" imgW="6350000" imgH="6350000" progId="TCLayout.ActiveDocument.1">
                  <p:embed/>
                  <p:pic>
                    <p:nvPicPr>
                      <p:cNvPr id="0" name="Picture 10"/>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 name="Oval 11"/>
          <p:cNvSpPr>
            <a:spLocks noChangeArrowheads="1"/>
          </p:cNvSpPr>
          <p:nvPr>
            <p:custDataLst>
              <p:tags r:id="rId3"/>
            </p:custDataLst>
          </p:nvPr>
        </p:nvSpPr>
        <p:spPr bwMode="auto">
          <a:xfrm>
            <a:off x="3378335" y="2254083"/>
            <a:ext cx="3333377" cy="3459237"/>
          </a:xfrm>
          <a:prstGeom prst="ellipse">
            <a:avLst/>
          </a:prstGeom>
          <a:solidFill>
            <a:srgbClr val="FFFFFF"/>
          </a:solidFill>
          <a:ln w="6350">
            <a:solidFill>
              <a:srgbClr val="1F497D"/>
            </a:solidFill>
            <a:round/>
            <a:headEnd/>
            <a:tailEnd/>
          </a:ln>
          <a:effectLst/>
        </p:spPr>
        <p:txBody>
          <a:bodyPr wrap="none" lIns="0" tIns="0" rIns="0" bIns="0" anchor="ctr">
            <a:prstTxWarp prst="textNoShape">
              <a:avLst/>
            </a:prstTxWarp>
          </a:bodyPr>
          <a:lstStyle/>
          <a:p>
            <a:pPr>
              <a:defRPr/>
            </a:pPr>
            <a:endParaRPr lang="en-GB" dirty="0">
              <a:latin typeface="Garamond"/>
            </a:endParaRPr>
          </a:p>
        </p:txBody>
      </p:sp>
      <p:sp>
        <p:nvSpPr>
          <p:cNvPr id="32" name="Oval 12"/>
          <p:cNvSpPr>
            <a:spLocks noChangeArrowheads="1"/>
          </p:cNvSpPr>
          <p:nvPr>
            <p:custDataLst>
              <p:tags r:id="rId4"/>
            </p:custDataLst>
          </p:nvPr>
        </p:nvSpPr>
        <p:spPr bwMode="auto">
          <a:xfrm>
            <a:off x="3734670" y="2625337"/>
            <a:ext cx="2619442" cy="2718068"/>
          </a:xfrm>
          <a:prstGeom prst="ellipse">
            <a:avLst/>
          </a:prstGeom>
          <a:solidFill>
            <a:schemeClr val="tx2"/>
          </a:solidFill>
          <a:ln w="9525" cap="rnd" cmpd="sng">
            <a:solidFill>
              <a:srgbClr val="1F497D"/>
            </a:solidFill>
            <a:prstDash val="solid"/>
            <a:round/>
            <a:headEnd type="none" w="sm" len="sm"/>
            <a:tailEnd type="none" w="sm" len="sm"/>
          </a:ln>
          <a:effectLst/>
        </p:spPr>
        <p:txBody>
          <a:bodyPr anchor="ctr" anchorCtr="0">
            <a:prstTxWarp prst="textNoShape">
              <a:avLst/>
            </a:prstTxWarp>
          </a:bodyPr>
          <a:lstStyle/>
          <a:p>
            <a:endParaRPr lang="en-GB" sz="1600" dirty="0">
              <a:solidFill>
                <a:srgbClr val="FFFFFF"/>
              </a:solidFill>
              <a:latin typeface="Garamond"/>
            </a:endParaRPr>
          </a:p>
        </p:txBody>
      </p:sp>
      <p:sp>
        <p:nvSpPr>
          <p:cNvPr id="52" name="Oval 13"/>
          <p:cNvSpPr>
            <a:spLocks noChangeArrowheads="1"/>
          </p:cNvSpPr>
          <p:nvPr>
            <p:custDataLst>
              <p:tags r:id="rId5"/>
            </p:custDataLst>
          </p:nvPr>
        </p:nvSpPr>
        <p:spPr bwMode="auto">
          <a:xfrm>
            <a:off x="4093532" y="2995252"/>
            <a:ext cx="1904244" cy="1978239"/>
          </a:xfrm>
          <a:prstGeom prst="ellipse">
            <a:avLst/>
          </a:prstGeom>
          <a:solidFill>
            <a:srgbClr val="FFFFFF"/>
          </a:solidFill>
          <a:ln w="6350">
            <a:solidFill>
              <a:srgbClr val="1F497D"/>
            </a:solidFill>
            <a:round/>
            <a:headEnd/>
            <a:tailEnd/>
          </a:ln>
          <a:effectLst/>
        </p:spPr>
        <p:txBody>
          <a:bodyPr wrap="none" lIns="0" tIns="0" rIns="0" bIns="0" anchor="ctr">
            <a:prstTxWarp prst="textNoShape">
              <a:avLst/>
            </a:prstTxWarp>
          </a:bodyPr>
          <a:lstStyle/>
          <a:p>
            <a:pPr>
              <a:defRPr/>
            </a:pPr>
            <a:endParaRPr lang="en-GB" dirty="0">
              <a:latin typeface="Garamond"/>
            </a:endParaRPr>
          </a:p>
        </p:txBody>
      </p:sp>
      <p:sp>
        <p:nvSpPr>
          <p:cNvPr id="53" name="Oval 14"/>
          <p:cNvSpPr>
            <a:spLocks noChangeArrowheads="1"/>
          </p:cNvSpPr>
          <p:nvPr>
            <p:custDataLst>
              <p:tags r:id="rId6"/>
            </p:custDataLst>
          </p:nvPr>
        </p:nvSpPr>
        <p:spPr bwMode="auto">
          <a:xfrm>
            <a:off x="4451131" y="3365167"/>
            <a:ext cx="1187784" cy="1237070"/>
          </a:xfrm>
          <a:prstGeom prst="ellipse">
            <a:avLst/>
          </a:prstGeom>
          <a:solidFill>
            <a:schemeClr val="tx2"/>
          </a:solidFill>
          <a:ln w="9525" cap="rnd" cmpd="sng">
            <a:solidFill>
              <a:srgbClr val="1F497D"/>
            </a:solidFill>
            <a:prstDash val="solid"/>
            <a:round/>
            <a:headEnd type="none" w="sm" len="sm"/>
            <a:tailEnd type="none" w="sm" len="sm"/>
          </a:ln>
          <a:effectLst/>
        </p:spPr>
        <p:txBody>
          <a:bodyPr anchor="ctr" anchorCtr="0">
            <a:prstTxWarp prst="textNoShape">
              <a:avLst/>
            </a:prstTxWarp>
          </a:bodyPr>
          <a:lstStyle/>
          <a:p>
            <a:endParaRPr lang="en-GB" sz="1600" dirty="0">
              <a:solidFill>
                <a:srgbClr val="FFFFFF"/>
              </a:solidFill>
              <a:latin typeface="Garamond"/>
            </a:endParaRPr>
          </a:p>
        </p:txBody>
      </p:sp>
      <p:sp>
        <p:nvSpPr>
          <p:cNvPr id="54" name="Oval 15"/>
          <p:cNvSpPr>
            <a:spLocks noChangeArrowheads="1"/>
          </p:cNvSpPr>
          <p:nvPr>
            <p:custDataLst>
              <p:tags r:id="rId7"/>
            </p:custDataLst>
          </p:nvPr>
        </p:nvSpPr>
        <p:spPr bwMode="auto">
          <a:xfrm>
            <a:off x="4806203" y="3735081"/>
            <a:ext cx="477640" cy="494560"/>
          </a:xfrm>
          <a:prstGeom prst="ellipse">
            <a:avLst/>
          </a:prstGeom>
          <a:solidFill>
            <a:srgbClr val="FFFFFF"/>
          </a:solidFill>
          <a:ln w="6350">
            <a:noFill/>
            <a:round/>
            <a:headEnd/>
            <a:tailEnd/>
          </a:ln>
          <a:effectLst/>
        </p:spPr>
        <p:txBody>
          <a:bodyPr wrap="none" lIns="0" tIns="0" rIns="0" bIns="0" anchor="ctr">
            <a:prstTxWarp prst="textNoShape">
              <a:avLst/>
            </a:prstTxWarp>
          </a:bodyPr>
          <a:lstStyle/>
          <a:p>
            <a:pPr>
              <a:defRPr/>
            </a:pPr>
            <a:endParaRPr lang="en-GB" dirty="0">
              <a:latin typeface="Garamond"/>
            </a:endParaRPr>
          </a:p>
        </p:txBody>
      </p:sp>
      <p:sp>
        <p:nvSpPr>
          <p:cNvPr id="55" name="Rectangle 17"/>
          <p:cNvSpPr>
            <a:spLocks noChangeArrowheads="1"/>
          </p:cNvSpPr>
          <p:nvPr>
            <p:custDataLst>
              <p:tags r:id="rId8"/>
            </p:custDataLst>
          </p:nvPr>
        </p:nvSpPr>
        <p:spPr bwMode="auto">
          <a:xfrm rot="20280000">
            <a:off x="5244671" y="3343723"/>
            <a:ext cx="2379359" cy="61653"/>
          </a:xfrm>
          <a:prstGeom prst="rect">
            <a:avLst/>
          </a:prstGeom>
          <a:solidFill>
            <a:schemeClr val="accent1"/>
          </a:solidFill>
          <a:ln w="3175">
            <a:noFill/>
            <a:miter lim="800000"/>
            <a:headEnd/>
            <a:tailEnd/>
          </a:ln>
        </p:spPr>
        <p:txBody>
          <a:bodyPr wrap="none" lIns="0" tIns="0" rIns="0" bIns="0" anchor="ctr">
            <a:prstTxWarp prst="textNoShape">
              <a:avLst/>
            </a:prstTxWarp>
          </a:bodyPr>
          <a:lstStyle/>
          <a:p>
            <a:endParaRPr lang="en-GB" dirty="0">
              <a:latin typeface="Garamond"/>
            </a:endParaRPr>
          </a:p>
        </p:txBody>
      </p:sp>
      <p:sp>
        <p:nvSpPr>
          <p:cNvPr id="56" name="Freeform 19"/>
          <p:cNvSpPr>
            <a:spLocks/>
          </p:cNvSpPr>
          <p:nvPr>
            <p:custDataLst>
              <p:tags r:id="rId9"/>
            </p:custDataLst>
          </p:nvPr>
        </p:nvSpPr>
        <p:spPr bwMode="auto">
          <a:xfrm>
            <a:off x="6863344" y="2767406"/>
            <a:ext cx="619164" cy="394040"/>
          </a:xfrm>
          <a:custGeom>
            <a:avLst/>
            <a:gdLst>
              <a:gd name="T0" fmla="*/ 0 w 410"/>
              <a:gd name="T1" fmla="*/ 465003 h 251"/>
              <a:gd name="T2" fmla="*/ 83509 w 410"/>
              <a:gd name="T3" fmla="*/ 275282 h 251"/>
              <a:gd name="T4" fmla="*/ 776251 w 410"/>
              <a:gd name="T5" fmla="*/ 0 h 251"/>
              <a:gd name="T6" fmla="*/ 692742 w 410"/>
              <a:gd name="T7" fmla="*/ 191581 h 251"/>
              <a:gd name="T8" fmla="*/ 0 w 410"/>
              <a:gd name="T9" fmla="*/ 465003 h 251"/>
              <a:gd name="T10" fmla="*/ 0 60000 65536"/>
              <a:gd name="T11" fmla="*/ 0 60000 65536"/>
              <a:gd name="T12" fmla="*/ 0 60000 65536"/>
              <a:gd name="T13" fmla="*/ 0 60000 65536"/>
              <a:gd name="T14" fmla="*/ 0 60000 65536"/>
              <a:gd name="T15" fmla="*/ 0 w 410"/>
              <a:gd name="T16" fmla="*/ 0 h 251"/>
              <a:gd name="T17" fmla="*/ 410 w 410"/>
              <a:gd name="T18" fmla="*/ 251 h 251"/>
            </a:gdLst>
            <a:ahLst/>
            <a:cxnLst>
              <a:cxn ang="T10">
                <a:pos x="T0" y="T1"/>
              </a:cxn>
              <a:cxn ang="T11">
                <a:pos x="T2" y="T3"/>
              </a:cxn>
              <a:cxn ang="T12">
                <a:pos x="T4" y="T5"/>
              </a:cxn>
              <a:cxn ang="T13">
                <a:pos x="T6" y="T7"/>
              </a:cxn>
              <a:cxn ang="T14">
                <a:pos x="T8" y="T9"/>
              </a:cxn>
            </a:cxnLst>
            <a:rect l="T15" t="T16" r="T17" b="T18"/>
            <a:pathLst>
              <a:path w="410" h="251">
                <a:moveTo>
                  <a:pt x="0" y="250"/>
                </a:moveTo>
                <a:lnTo>
                  <a:pt x="44" y="148"/>
                </a:lnTo>
                <a:lnTo>
                  <a:pt x="409" y="0"/>
                </a:lnTo>
                <a:lnTo>
                  <a:pt x="365" y="103"/>
                </a:lnTo>
                <a:lnTo>
                  <a:pt x="0" y="250"/>
                </a:lnTo>
                <a:close/>
              </a:path>
            </a:pathLst>
          </a:custGeom>
          <a:solidFill>
            <a:srgbClr val="4F81BD"/>
          </a:solidFill>
          <a:ln w="3175">
            <a:noFill/>
            <a:round/>
            <a:headEnd/>
            <a:tailEnd/>
          </a:ln>
        </p:spPr>
        <p:txBody>
          <a:bodyPr wrap="none" lIns="0" tIns="0" rIns="0" bIns="0" anchor="ctr">
            <a:prstTxWarp prst="textNoShape">
              <a:avLst/>
            </a:prstTxWarp>
          </a:bodyPr>
          <a:lstStyle/>
          <a:p>
            <a:endParaRPr lang="en-GB" dirty="0">
              <a:latin typeface="Garamond"/>
            </a:endParaRPr>
          </a:p>
        </p:txBody>
      </p:sp>
      <p:sp>
        <p:nvSpPr>
          <p:cNvPr id="57" name="Freeform 20"/>
          <p:cNvSpPr>
            <a:spLocks/>
          </p:cNvSpPr>
          <p:nvPr>
            <p:custDataLst>
              <p:tags r:id="rId10"/>
            </p:custDataLst>
          </p:nvPr>
        </p:nvSpPr>
        <p:spPr bwMode="auto">
          <a:xfrm>
            <a:off x="6886088" y="2985871"/>
            <a:ext cx="708879" cy="301560"/>
          </a:xfrm>
          <a:custGeom>
            <a:avLst/>
            <a:gdLst>
              <a:gd name="T0" fmla="*/ 0 w 469"/>
              <a:gd name="T1" fmla="*/ 276219 h 192"/>
              <a:gd name="T2" fmla="*/ 195629 w 469"/>
              <a:gd name="T3" fmla="*/ 356472 h 192"/>
              <a:gd name="T4" fmla="*/ 888877 w 469"/>
              <a:gd name="T5" fmla="*/ 82119 h 192"/>
              <a:gd name="T6" fmla="*/ 693248 w 469"/>
              <a:gd name="T7" fmla="*/ 0 h 192"/>
              <a:gd name="T8" fmla="*/ 0 w 469"/>
              <a:gd name="T9" fmla="*/ 276219 h 192"/>
              <a:gd name="T10" fmla="*/ 0 60000 65536"/>
              <a:gd name="T11" fmla="*/ 0 60000 65536"/>
              <a:gd name="T12" fmla="*/ 0 60000 65536"/>
              <a:gd name="T13" fmla="*/ 0 60000 65536"/>
              <a:gd name="T14" fmla="*/ 0 60000 65536"/>
              <a:gd name="T15" fmla="*/ 0 w 469"/>
              <a:gd name="T16" fmla="*/ 0 h 192"/>
              <a:gd name="T17" fmla="*/ 469 w 469"/>
              <a:gd name="T18" fmla="*/ 192 h 192"/>
            </a:gdLst>
            <a:ahLst/>
            <a:cxnLst>
              <a:cxn ang="T10">
                <a:pos x="T0" y="T1"/>
              </a:cxn>
              <a:cxn ang="T11">
                <a:pos x="T2" y="T3"/>
              </a:cxn>
              <a:cxn ang="T12">
                <a:pos x="T4" y="T5"/>
              </a:cxn>
              <a:cxn ang="T13">
                <a:pos x="T6" y="T7"/>
              </a:cxn>
              <a:cxn ang="T14">
                <a:pos x="T8" y="T9"/>
              </a:cxn>
            </a:cxnLst>
            <a:rect l="T15" t="T16" r="T17" b="T18"/>
            <a:pathLst>
              <a:path w="469" h="192">
                <a:moveTo>
                  <a:pt x="0" y="148"/>
                </a:moveTo>
                <a:lnTo>
                  <a:pt x="103" y="191"/>
                </a:lnTo>
                <a:lnTo>
                  <a:pt x="468" y="44"/>
                </a:lnTo>
                <a:lnTo>
                  <a:pt x="365" y="0"/>
                </a:lnTo>
                <a:lnTo>
                  <a:pt x="0" y="148"/>
                </a:lnTo>
                <a:close/>
              </a:path>
            </a:pathLst>
          </a:custGeom>
          <a:solidFill>
            <a:srgbClr val="4F81BD"/>
          </a:solidFill>
          <a:ln w="3175">
            <a:noFill/>
            <a:round/>
            <a:headEnd/>
            <a:tailEnd/>
          </a:ln>
        </p:spPr>
        <p:txBody>
          <a:bodyPr wrap="none" lIns="0" tIns="0" rIns="0" bIns="0" anchor="ctr">
            <a:prstTxWarp prst="textNoShape">
              <a:avLst/>
            </a:prstTxWarp>
          </a:bodyPr>
          <a:lstStyle/>
          <a:p>
            <a:endParaRPr lang="en-GB" dirty="0">
              <a:latin typeface="Garamond"/>
            </a:endParaRPr>
          </a:p>
        </p:txBody>
      </p:sp>
      <p:sp>
        <p:nvSpPr>
          <p:cNvPr id="58" name="Freeform 21"/>
          <p:cNvSpPr>
            <a:spLocks/>
          </p:cNvSpPr>
          <p:nvPr>
            <p:custDataLst>
              <p:tags r:id="rId11"/>
            </p:custDataLst>
          </p:nvPr>
        </p:nvSpPr>
        <p:spPr bwMode="auto">
          <a:xfrm>
            <a:off x="4943935" y="3546104"/>
            <a:ext cx="686135" cy="455691"/>
          </a:xfrm>
          <a:custGeom>
            <a:avLst/>
            <a:gdLst>
              <a:gd name="T0" fmla="*/ 0 w 454"/>
              <a:gd name="T1" fmla="*/ 538720 h 291"/>
              <a:gd name="T2" fmla="*/ 664620 w 454"/>
              <a:gd name="T3" fmla="*/ 0 h 291"/>
              <a:gd name="T4" fmla="*/ 508909 w 454"/>
              <a:gd name="T5" fmla="*/ 336236 h 291"/>
              <a:gd name="T6" fmla="*/ 51271 w 454"/>
              <a:gd name="T7" fmla="*/ 518286 h 291"/>
              <a:gd name="T8" fmla="*/ 508909 w 454"/>
              <a:gd name="T9" fmla="*/ 336236 h 291"/>
              <a:gd name="T10" fmla="*/ 860208 w 454"/>
              <a:gd name="T11" fmla="*/ 473702 h 291"/>
              <a:gd name="T12" fmla="*/ 0 w 454"/>
              <a:gd name="T13" fmla="*/ 538720 h 291"/>
              <a:gd name="T14" fmla="*/ 0 60000 65536"/>
              <a:gd name="T15" fmla="*/ 0 60000 65536"/>
              <a:gd name="T16" fmla="*/ 0 60000 65536"/>
              <a:gd name="T17" fmla="*/ 0 60000 65536"/>
              <a:gd name="T18" fmla="*/ 0 60000 65536"/>
              <a:gd name="T19" fmla="*/ 0 60000 65536"/>
              <a:gd name="T20" fmla="*/ 0 60000 65536"/>
              <a:gd name="T21" fmla="*/ 0 w 454"/>
              <a:gd name="T22" fmla="*/ 0 h 291"/>
              <a:gd name="T23" fmla="*/ 454 w 454"/>
              <a:gd name="T24" fmla="*/ 291 h 29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4" h="291">
                <a:moveTo>
                  <a:pt x="0" y="290"/>
                </a:moveTo>
                <a:lnTo>
                  <a:pt x="350" y="0"/>
                </a:lnTo>
                <a:lnTo>
                  <a:pt x="268" y="181"/>
                </a:lnTo>
                <a:lnTo>
                  <a:pt x="27" y="279"/>
                </a:lnTo>
                <a:lnTo>
                  <a:pt x="268" y="181"/>
                </a:lnTo>
                <a:lnTo>
                  <a:pt x="453" y="255"/>
                </a:lnTo>
                <a:lnTo>
                  <a:pt x="0" y="290"/>
                </a:lnTo>
                <a:close/>
              </a:path>
            </a:pathLst>
          </a:custGeom>
          <a:solidFill>
            <a:schemeClr val="accent1"/>
          </a:solidFill>
          <a:ln w="3175">
            <a:noFill/>
            <a:round/>
            <a:headEnd/>
            <a:tailEnd/>
          </a:ln>
        </p:spPr>
        <p:txBody>
          <a:bodyPr wrap="none" lIns="0" tIns="0" rIns="0" bIns="0" anchor="ctr">
            <a:prstTxWarp prst="textNoShape">
              <a:avLst/>
            </a:prstTxWarp>
          </a:bodyPr>
          <a:lstStyle/>
          <a:p>
            <a:endParaRPr lang="en-GB" dirty="0">
              <a:latin typeface="Garamond"/>
            </a:endParaRPr>
          </a:p>
        </p:txBody>
      </p:sp>
      <p:sp>
        <p:nvSpPr>
          <p:cNvPr id="59" name="Text Box 22"/>
          <p:cNvSpPr txBox="1">
            <a:spLocks noChangeArrowheads="1"/>
          </p:cNvSpPr>
          <p:nvPr>
            <p:custDataLst>
              <p:tags r:id="rId12"/>
            </p:custDataLst>
          </p:nvPr>
        </p:nvSpPr>
        <p:spPr bwMode="auto">
          <a:xfrm>
            <a:off x="1490517" y="2870608"/>
            <a:ext cx="1429131" cy="121401"/>
          </a:xfrm>
          <a:prstGeom prst="rect">
            <a:avLst/>
          </a:prstGeom>
          <a:noFill/>
          <a:ln w="3175">
            <a:noFill/>
            <a:miter lim="800000"/>
            <a:headEnd/>
            <a:tailEnd/>
          </a:ln>
        </p:spPr>
        <p:txBody>
          <a:bodyPr wrap="square" lIns="0" tIns="0" rIns="0" bIns="0">
            <a:prstTxWarp prst="textNoShape">
              <a:avLst/>
            </a:prstTxWarp>
            <a:spAutoFit/>
          </a:bodyPr>
          <a:lstStyle/>
          <a:p>
            <a:pPr defTabSz="290812">
              <a:lnSpc>
                <a:spcPts val="811"/>
              </a:lnSpc>
              <a:spcBef>
                <a:spcPct val="0"/>
              </a:spcBef>
            </a:pPr>
            <a:r>
              <a:rPr lang="en-US" sz="1400" dirty="0">
                <a:solidFill>
                  <a:srgbClr val="1F497D"/>
                </a:solidFill>
                <a:latin typeface="Garamond"/>
              </a:rPr>
              <a:t>Label</a:t>
            </a:r>
          </a:p>
        </p:txBody>
      </p:sp>
      <p:sp>
        <p:nvSpPr>
          <p:cNvPr id="60" name="Line 23"/>
          <p:cNvSpPr>
            <a:spLocks noChangeShapeType="1"/>
          </p:cNvSpPr>
          <p:nvPr>
            <p:custDataLst>
              <p:tags r:id="rId13"/>
            </p:custDataLst>
          </p:nvPr>
        </p:nvSpPr>
        <p:spPr bwMode="auto">
          <a:xfrm flipH="1">
            <a:off x="2664401" y="3984371"/>
            <a:ext cx="2261844" cy="0"/>
          </a:xfrm>
          <a:prstGeom prst="line">
            <a:avLst/>
          </a:prstGeom>
          <a:noFill/>
          <a:ln w="12700" cap="flat" cmpd="sng" algn="ctr">
            <a:solidFill>
              <a:srgbClr val="4F81BD"/>
            </a:solidFill>
            <a:prstDash val="solid"/>
            <a:round/>
            <a:headEnd type="none" w="med" len="med"/>
            <a:tailEnd type="none" w="med" len="med"/>
          </a:ln>
        </p:spPr>
        <p:txBody>
          <a:bodyPr wrap="none" lIns="0" tIns="0" rIns="0" bIns="0" anchor="ctr">
            <a:prstTxWarp prst="textNoShape">
              <a:avLst/>
            </a:prstTxWarp>
          </a:bodyPr>
          <a:lstStyle/>
          <a:p>
            <a:endParaRPr lang="en-GB" dirty="0">
              <a:latin typeface="Garamond"/>
            </a:endParaRPr>
          </a:p>
        </p:txBody>
      </p:sp>
      <p:sp>
        <p:nvSpPr>
          <p:cNvPr id="61" name="Line 24"/>
          <p:cNvSpPr>
            <a:spLocks noChangeShapeType="1"/>
          </p:cNvSpPr>
          <p:nvPr>
            <p:custDataLst>
              <p:tags r:id="rId14"/>
            </p:custDataLst>
          </p:nvPr>
        </p:nvSpPr>
        <p:spPr bwMode="auto">
          <a:xfrm flipH="1">
            <a:off x="2664400" y="3735081"/>
            <a:ext cx="2023024" cy="0"/>
          </a:xfrm>
          <a:prstGeom prst="line">
            <a:avLst/>
          </a:prstGeom>
          <a:noFill/>
          <a:ln w="12700" cap="flat" cmpd="sng" algn="ctr">
            <a:solidFill>
              <a:srgbClr val="4F81BD"/>
            </a:solidFill>
            <a:prstDash val="solid"/>
            <a:round/>
            <a:headEnd type="none" w="med" len="med"/>
            <a:tailEnd type="none" w="med" len="med"/>
          </a:ln>
        </p:spPr>
        <p:txBody>
          <a:bodyPr wrap="none" lIns="0" tIns="0" rIns="0" bIns="0" anchor="ctr">
            <a:prstTxWarp prst="textNoShape">
              <a:avLst/>
            </a:prstTxWarp>
          </a:bodyPr>
          <a:lstStyle/>
          <a:p>
            <a:endParaRPr lang="en-GB" dirty="0">
              <a:latin typeface="Garamond"/>
            </a:endParaRPr>
          </a:p>
        </p:txBody>
      </p:sp>
      <p:sp>
        <p:nvSpPr>
          <p:cNvPr id="62" name="Line 25"/>
          <p:cNvSpPr>
            <a:spLocks noChangeShapeType="1"/>
          </p:cNvSpPr>
          <p:nvPr>
            <p:custDataLst>
              <p:tags r:id="rId15"/>
            </p:custDataLst>
          </p:nvPr>
        </p:nvSpPr>
        <p:spPr bwMode="auto">
          <a:xfrm flipH="1">
            <a:off x="2664400" y="3489812"/>
            <a:ext cx="1786730" cy="0"/>
          </a:xfrm>
          <a:prstGeom prst="line">
            <a:avLst/>
          </a:prstGeom>
          <a:noFill/>
          <a:ln w="12700" cap="flat" cmpd="sng" algn="ctr">
            <a:solidFill>
              <a:srgbClr val="4F81BD"/>
            </a:solidFill>
            <a:prstDash val="solid"/>
            <a:round/>
            <a:headEnd type="none" w="med" len="med"/>
            <a:tailEnd type="none" w="med" len="med"/>
          </a:ln>
        </p:spPr>
        <p:txBody>
          <a:bodyPr wrap="none" lIns="0" tIns="0" rIns="0" bIns="0" anchor="ctr">
            <a:prstTxWarp prst="textNoShape">
              <a:avLst/>
            </a:prstTxWarp>
          </a:bodyPr>
          <a:lstStyle/>
          <a:p>
            <a:endParaRPr lang="en-GB" dirty="0">
              <a:latin typeface="Garamond"/>
            </a:endParaRPr>
          </a:p>
        </p:txBody>
      </p:sp>
      <p:sp>
        <p:nvSpPr>
          <p:cNvPr id="63" name="Line 26"/>
          <p:cNvSpPr>
            <a:spLocks noChangeShapeType="1"/>
          </p:cNvSpPr>
          <p:nvPr>
            <p:custDataLst>
              <p:tags r:id="rId16"/>
            </p:custDataLst>
          </p:nvPr>
        </p:nvSpPr>
        <p:spPr bwMode="auto">
          <a:xfrm flipH="1">
            <a:off x="2664401" y="3241862"/>
            <a:ext cx="1546646" cy="0"/>
          </a:xfrm>
          <a:prstGeom prst="line">
            <a:avLst/>
          </a:prstGeom>
          <a:noFill/>
          <a:ln w="12700" cap="flat" cmpd="sng" algn="ctr">
            <a:solidFill>
              <a:srgbClr val="4F81BD"/>
            </a:solidFill>
            <a:prstDash val="solid"/>
            <a:round/>
            <a:headEnd type="none" w="med" len="med"/>
            <a:tailEnd type="none" w="med" len="med"/>
          </a:ln>
        </p:spPr>
        <p:txBody>
          <a:bodyPr wrap="none" lIns="0" tIns="0" rIns="0" bIns="0" anchor="ctr">
            <a:prstTxWarp prst="textNoShape">
              <a:avLst/>
            </a:prstTxWarp>
          </a:bodyPr>
          <a:lstStyle/>
          <a:p>
            <a:endParaRPr lang="en-GB" dirty="0">
              <a:latin typeface="Garamond"/>
            </a:endParaRPr>
          </a:p>
        </p:txBody>
      </p:sp>
      <p:sp>
        <p:nvSpPr>
          <p:cNvPr id="64" name="Line 27"/>
          <p:cNvSpPr>
            <a:spLocks noChangeShapeType="1"/>
          </p:cNvSpPr>
          <p:nvPr>
            <p:custDataLst>
              <p:tags r:id="rId17"/>
            </p:custDataLst>
          </p:nvPr>
        </p:nvSpPr>
        <p:spPr bwMode="auto">
          <a:xfrm flipH="1">
            <a:off x="2661874" y="2995252"/>
            <a:ext cx="1191575" cy="0"/>
          </a:xfrm>
          <a:prstGeom prst="line">
            <a:avLst/>
          </a:prstGeom>
          <a:noFill/>
          <a:ln w="12700" cap="flat" cmpd="sng" algn="ctr">
            <a:solidFill>
              <a:srgbClr val="4F81BD"/>
            </a:solidFill>
            <a:prstDash val="solid"/>
            <a:round/>
            <a:headEnd type="none" w="med" len="med"/>
            <a:tailEnd type="none" w="med" len="med"/>
          </a:ln>
        </p:spPr>
        <p:txBody>
          <a:bodyPr wrap="none" lIns="0" tIns="0" rIns="0" bIns="0" anchor="ctr">
            <a:prstTxWarp prst="textNoShape">
              <a:avLst/>
            </a:prstTxWarp>
          </a:bodyPr>
          <a:lstStyle/>
          <a:p>
            <a:endParaRPr lang="en-GB" dirty="0">
              <a:solidFill>
                <a:srgbClr val="1F497D"/>
              </a:solidFill>
              <a:latin typeface="Garamond"/>
            </a:endParaRPr>
          </a:p>
        </p:txBody>
      </p:sp>
      <p:sp>
        <p:nvSpPr>
          <p:cNvPr id="65" name="Text Box 28"/>
          <p:cNvSpPr txBox="1">
            <a:spLocks noChangeArrowheads="1"/>
          </p:cNvSpPr>
          <p:nvPr>
            <p:custDataLst>
              <p:tags r:id="rId18"/>
            </p:custDataLst>
          </p:nvPr>
        </p:nvSpPr>
        <p:spPr bwMode="auto">
          <a:xfrm>
            <a:off x="1490517" y="3119898"/>
            <a:ext cx="1429131" cy="121401"/>
          </a:xfrm>
          <a:prstGeom prst="rect">
            <a:avLst/>
          </a:prstGeom>
          <a:noFill/>
          <a:ln w="6350">
            <a:noFill/>
            <a:miter lim="800000"/>
            <a:headEnd/>
            <a:tailEnd/>
          </a:ln>
        </p:spPr>
        <p:txBody>
          <a:bodyPr wrap="square" lIns="0" tIns="0" rIns="0" bIns="0">
            <a:prstTxWarp prst="textNoShape">
              <a:avLst/>
            </a:prstTxWarp>
            <a:spAutoFit/>
          </a:bodyPr>
          <a:lstStyle/>
          <a:p>
            <a:pPr defTabSz="290812">
              <a:lnSpc>
                <a:spcPts val="811"/>
              </a:lnSpc>
              <a:spcBef>
                <a:spcPct val="0"/>
              </a:spcBef>
            </a:pPr>
            <a:r>
              <a:rPr lang="en-US" sz="1400" dirty="0">
                <a:solidFill>
                  <a:srgbClr val="1F497D"/>
                </a:solidFill>
                <a:latin typeface="Garamond"/>
              </a:rPr>
              <a:t>Label</a:t>
            </a:r>
          </a:p>
        </p:txBody>
      </p:sp>
      <p:sp>
        <p:nvSpPr>
          <p:cNvPr id="66" name="Text Box 29"/>
          <p:cNvSpPr txBox="1">
            <a:spLocks noChangeArrowheads="1"/>
          </p:cNvSpPr>
          <p:nvPr>
            <p:custDataLst>
              <p:tags r:id="rId19"/>
            </p:custDataLst>
          </p:nvPr>
        </p:nvSpPr>
        <p:spPr bwMode="auto">
          <a:xfrm>
            <a:off x="1490517" y="3365167"/>
            <a:ext cx="1429131" cy="121401"/>
          </a:xfrm>
          <a:prstGeom prst="rect">
            <a:avLst/>
          </a:prstGeom>
          <a:noFill/>
          <a:ln w="6350">
            <a:noFill/>
            <a:miter lim="800000"/>
            <a:headEnd/>
            <a:tailEnd/>
          </a:ln>
        </p:spPr>
        <p:txBody>
          <a:bodyPr wrap="square" lIns="0" tIns="0" rIns="0" bIns="0">
            <a:prstTxWarp prst="textNoShape">
              <a:avLst/>
            </a:prstTxWarp>
            <a:spAutoFit/>
          </a:bodyPr>
          <a:lstStyle/>
          <a:p>
            <a:pPr defTabSz="290812">
              <a:lnSpc>
                <a:spcPts val="811"/>
              </a:lnSpc>
              <a:spcBef>
                <a:spcPct val="0"/>
              </a:spcBef>
            </a:pPr>
            <a:r>
              <a:rPr lang="en-US" sz="1400" dirty="0">
                <a:solidFill>
                  <a:srgbClr val="1F497D"/>
                </a:solidFill>
                <a:latin typeface="Garamond"/>
              </a:rPr>
              <a:t>Label</a:t>
            </a:r>
          </a:p>
        </p:txBody>
      </p:sp>
      <p:sp>
        <p:nvSpPr>
          <p:cNvPr id="67" name="Text Box 30"/>
          <p:cNvSpPr txBox="1">
            <a:spLocks noChangeArrowheads="1"/>
          </p:cNvSpPr>
          <p:nvPr>
            <p:custDataLst>
              <p:tags r:id="rId20"/>
            </p:custDataLst>
          </p:nvPr>
        </p:nvSpPr>
        <p:spPr bwMode="auto">
          <a:xfrm>
            <a:off x="1490517" y="3614457"/>
            <a:ext cx="1429131" cy="121401"/>
          </a:xfrm>
          <a:prstGeom prst="rect">
            <a:avLst/>
          </a:prstGeom>
          <a:noFill/>
          <a:ln w="6350">
            <a:noFill/>
            <a:miter lim="800000"/>
            <a:headEnd/>
            <a:tailEnd/>
          </a:ln>
        </p:spPr>
        <p:txBody>
          <a:bodyPr wrap="square" lIns="0" tIns="0" rIns="0" bIns="0">
            <a:prstTxWarp prst="textNoShape">
              <a:avLst/>
            </a:prstTxWarp>
            <a:spAutoFit/>
          </a:bodyPr>
          <a:lstStyle/>
          <a:p>
            <a:pPr defTabSz="290812">
              <a:lnSpc>
                <a:spcPts val="811"/>
              </a:lnSpc>
              <a:spcBef>
                <a:spcPct val="0"/>
              </a:spcBef>
            </a:pPr>
            <a:r>
              <a:rPr lang="en-US" sz="1400" dirty="0">
                <a:solidFill>
                  <a:srgbClr val="1F497D"/>
                </a:solidFill>
                <a:latin typeface="Garamond"/>
              </a:rPr>
              <a:t>Label</a:t>
            </a:r>
          </a:p>
        </p:txBody>
      </p:sp>
      <p:sp>
        <p:nvSpPr>
          <p:cNvPr id="68" name="Text Box 31"/>
          <p:cNvSpPr txBox="1">
            <a:spLocks noChangeArrowheads="1"/>
          </p:cNvSpPr>
          <p:nvPr>
            <p:custDataLst>
              <p:tags r:id="rId21"/>
            </p:custDataLst>
          </p:nvPr>
        </p:nvSpPr>
        <p:spPr bwMode="auto">
          <a:xfrm>
            <a:off x="1490517" y="3859727"/>
            <a:ext cx="1429131" cy="121401"/>
          </a:xfrm>
          <a:prstGeom prst="rect">
            <a:avLst/>
          </a:prstGeom>
          <a:noFill/>
          <a:ln w="6350">
            <a:noFill/>
            <a:miter lim="800000"/>
            <a:headEnd/>
            <a:tailEnd/>
          </a:ln>
        </p:spPr>
        <p:txBody>
          <a:bodyPr wrap="square" lIns="0" tIns="0" rIns="0" bIns="0">
            <a:prstTxWarp prst="textNoShape">
              <a:avLst/>
            </a:prstTxWarp>
            <a:spAutoFit/>
          </a:bodyPr>
          <a:lstStyle/>
          <a:p>
            <a:pPr defTabSz="290812">
              <a:lnSpc>
                <a:spcPts val="811"/>
              </a:lnSpc>
              <a:spcBef>
                <a:spcPct val="0"/>
              </a:spcBef>
            </a:pPr>
            <a:r>
              <a:rPr lang="en-US" sz="1400" dirty="0">
                <a:solidFill>
                  <a:srgbClr val="1F497D"/>
                </a:solidFill>
                <a:latin typeface="Garamond"/>
              </a:rPr>
              <a:t>Label</a:t>
            </a:r>
          </a:p>
        </p:txBody>
      </p:sp>
      <p:sp>
        <p:nvSpPr>
          <p:cNvPr id="69" name="Title 3"/>
          <p:cNvSpPr txBox="1">
            <a:spLocks/>
          </p:cNvSpPr>
          <p:nvPr>
            <p:custDataLst>
              <p:tags r:id="rId22"/>
            </p:custDataLst>
          </p:nvPr>
        </p:nvSpPr>
        <p:spPr>
          <a:xfrm>
            <a:off x="754204" y="5545148"/>
            <a:ext cx="6891495" cy="822961"/>
          </a:xfrm>
          <a:prstGeom prst="rect">
            <a:avLst/>
          </a:prstGeom>
        </p:spPr>
        <p:txBody>
          <a:bodyPr vert="horz" lIns="80133" tIns="40067" rIns="80133" bIns="40067" rtlCol="0" anchor="b" anchorCtr="0">
            <a:normAutofit/>
          </a:bodyPr>
          <a:lstStyle>
            <a:lvl1pPr algn="l" defTabSz="914239" rtl="0" eaLnBrk="1" latinLnBrk="0" hangingPunct="1">
              <a:spcBef>
                <a:spcPct val="0"/>
              </a:spcBef>
              <a:buNone/>
              <a:defRPr sz="2800" kern="1200">
                <a:solidFill>
                  <a:schemeClr val="accent1"/>
                </a:solidFill>
                <a:latin typeface="Garamond" pitchFamily="18" charset="0"/>
                <a:ea typeface="+mj-ea"/>
                <a:cs typeface="+mj-cs"/>
              </a:defRPr>
            </a:lvl1pPr>
          </a:lstStyle>
          <a:p>
            <a:r>
              <a:rPr lang="en-GB" sz="1200" dirty="0">
                <a:solidFill>
                  <a:schemeClr val="tx2"/>
                </a:solidFill>
              </a:rPr>
              <a:t>Footnotes and assumptions: list</a:t>
            </a:r>
          </a:p>
          <a:p>
            <a:r>
              <a:rPr lang="en-GB" sz="1200" dirty="0">
                <a:solidFill>
                  <a:schemeClr val="tx2"/>
                </a:solidFill>
              </a:rPr>
              <a:t>Source: List sources</a:t>
            </a:r>
          </a:p>
        </p:txBody>
      </p:sp>
      <p:sp>
        <p:nvSpPr>
          <p:cNvPr id="70" name="Rectangle 4"/>
          <p:cNvSpPr>
            <a:spLocks noGrp="1" noChangeArrowheads="1"/>
          </p:cNvSpPr>
          <p:nvPr>
            <p:ph type="title"/>
            <p:custDataLst>
              <p:tags r:id="rId23"/>
            </p:custDataLst>
          </p:nvPr>
        </p:nvSpPr>
        <p:spPr/>
        <p:txBody>
          <a:bodyPr/>
          <a:lstStyle/>
          <a:p>
            <a:r>
              <a:rPr lang="en-GB" dirty="0" smtClean="0"/>
              <a:t>Message title – </a:t>
            </a:r>
            <a:r>
              <a:rPr lang="en-US" dirty="0" smtClean="0"/>
              <a:t>why are you showing it? target</a:t>
            </a:r>
            <a:endParaRPr lang="en-GB" dirty="0"/>
          </a:p>
        </p:txBody>
      </p:sp>
      <p:sp>
        <p:nvSpPr>
          <p:cNvPr id="5" name="Footer Placeholder 4"/>
          <p:cNvSpPr>
            <a:spLocks noGrp="1"/>
          </p:cNvSpPr>
          <p:nvPr>
            <p:ph type="ftr" sz="quarter" idx="3"/>
          </p:nvPr>
        </p:nvSpPr>
        <p:spPr/>
        <p:txBody>
          <a:bodyPr/>
          <a:lstStyle/>
          <a:p>
            <a:r>
              <a:rPr lang="en-US" dirty="0" smtClean="0"/>
              <a:t>neil young |neil@ogcommunicationdesign.com |www.ogcommunicationdesign.com</a:t>
            </a:r>
            <a:endParaRPr lang="en-US" dirty="0"/>
          </a:p>
        </p:txBody>
      </p:sp>
      <p:sp>
        <p:nvSpPr>
          <p:cNvPr id="72" name="Slide Number Placeholder 1"/>
          <p:cNvSpPr>
            <a:spLocks noGrp="1"/>
          </p:cNvSpPr>
          <p:nvPr>
            <p:ph type="sldNum" sz="quarter" idx="4"/>
            <p:custDataLst>
              <p:tags r:id="rId24"/>
            </p:custDataLst>
          </p:nvPr>
        </p:nvSpPr>
        <p:spPr/>
        <p:txBody>
          <a:bodyPr/>
          <a:lstStyle/>
          <a:p>
            <a:fld id="{9EA32989-03B0-4860-BCBF-38A6D1811E33}" type="slidenum">
              <a:rPr lang="en-GB" smtClean="0"/>
              <a:pPr/>
              <a:t>20</a:t>
            </a:fld>
            <a:endParaRPr lang="en-GB" dirty="0"/>
          </a:p>
        </p:txBody>
      </p:sp>
      <p:sp>
        <p:nvSpPr>
          <p:cNvPr id="26" name="TextBox 25"/>
          <p:cNvSpPr txBox="1"/>
          <p:nvPr>
            <p:custDataLst>
              <p:tags r:id="rId25"/>
            </p:custDataLst>
          </p:nvPr>
        </p:nvSpPr>
        <p:spPr>
          <a:xfrm>
            <a:off x="755338" y="1481982"/>
            <a:ext cx="7606753" cy="362896"/>
          </a:xfrm>
          <a:prstGeom prst="rect">
            <a:avLst/>
          </a:prstGeom>
          <a:noFill/>
        </p:spPr>
        <p:txBody>
          <a:bodyPr wrap="square" lIns="80147" tIns="40074" rIns="80147" bIns="40074" rtlCol="0">
            <a:spAutoFit/>
          </a:bodyPr>
          <a:lstStyle/>
          <a:p>
            <a:r>
              <a:rPr lang="en-ZW" dirty="0">
                <a:latin typeface="Garamond" pitchFamily="18" charset="0"/>
              </a:rPr>
              <a:t>Title – what are you showing on this page?</a:t>
            </a:r>
          </a:p>
        </p:txBody>
      </p:sp>
    </p:spTree>
    <p:extLst>
      <p:ext uri="{BB962C8B-B14F-4D97-AF65-F5344CB8AC3E}">
        <p14:creationId xmlns:p14="http://schemas.microsoft.com/office/powerpoint/2010/main" val="127169332"/>
      </p:ext>
    </p:extLst>
  </p:cSld>
  <p:clrMapOvr>
    <a:masterClrMapping/>
  </p:clrMapOvr>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157531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61" name="think-cell Slide" r:id="rId8" imgW="6350000" imgH="6350000" progId="TCLayout.ActiveDocument.1">
                  <p:embed/>
                </p:oleObj>
              </mc:Choice>
              <mc:Fallback>
                <p:oleObj name="think-cell Slide" r:id="rId8" imgW="6350000" imgH="6350000" progId="TCLayout.ActiveDocument.1">
                  <p:embed/>
                  <p:pic>
                    <p:nvPicPr>
                      <p:cNvPr id="0" name="Picture 10"/>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 name="Freeform 6"/>
          <p:cNvSpPr>
            <a:spLocks/>
          </p:cNvSpPr>
          <p:nvPr/>
        </p:nvSpPr>
        <p:spPr bwMode="auto">
          <a:xfrm rot="194017">
            <a:off x="1712321" y="3146636"/>
            <a:ext cx="2261093" cy="2355746"/>
          </a:xfrm>
          <a:custGeom>
            <a:avLst/>
            <a:gdLst>
              <a:gd name="T0" fmla="*/ 754 w 395"/>
              <a:gd name="T1" fmla="*/ 18 h 388"/>
              <a:gd name="T2" fmla="*/ 703 w 395"/>
              <a:gd name="T3" fmla="*/ 164 h 388"/>
              <a:gd name="T4" fmla="*/ 557 w 395"/>
              <a:gd name="T5" fmla="*/ 64 h 388"/>
              <a:gd name="T6" fmla="*/ 539 w 395"/>
              <a:gd name="T7" fmla="*/ 247 h 388"/>
              <a:gd name="T8" fmla="*/ 343 w 395"/>
              <a:gd name="T9" fmla="*/ 178 h 388"/>
              <a:gd name="T10" fmla="*/ 375 w 395"/>
              <a:gd name="T11" fmla="*/ 361 h 388"/>
              <a:gd name="T12" fmla="*/ 196 w 395"/>
              <a:gd name="T13" fmla="*/ 343 h 388"/>
              <a:gd name="T14" fmla="*/ 260 w 395"/>
              <a:gd name="T15" fmla="*/ 493 h 388"/>
              <a:gd name="T16" fmla="*/ 82 w 395"/>
              <a:gd name="T17" fmla="*/ 525 h 388"/>
              <a:gd name="T18" fmla="*/ 196 w 395"/>
              <a:gd name="T19" fmla="*/ 671 h 388"/>
              <a:gd name="T20" fmla="*/ 18 w 395"/>
              <a:gd name="T21" fmla="*/ 735 h 388"/>
              <a:gd name="T22" fmla="*/ 164 w 395"/>
              <a:gd name="T23" fmla="*/ 868 h 388"/>
              <a:gd name="T24" fmla="*/ 18 w 395"/>
              <a:gd name="T25" fmla="*/ 982 h 388"/>
              <a:gd name="T26" fmla="*/ 196 w 395"/>
              <a:gd name="T27" fmla="*/ 1064 h 388"/>
              <a:gd name="T28" fmla="*/ 64 w 395"/>
              <a:gd name="T29" fmla="*/ 1210 h 388"/>
              <a:gd name="T30" fmla="*/ 260 w 395"/>
              <a:gd name="T31" fmla="*/ 1242 h 388"/>
              <a:gd name="T32" fmla="*/ 196 w 395"/>
              <a:gd name="T33" fmla="*/ 1425 h 388"/>
              <a:gd name="T34" fmla="*/ 393 w 395"/>
              <a:gd name="T35" fmla="*/ 1407 h 388"/>
              <a:gd name="T36" fmla="*/ 361 w 395"/>
              <a:gd name="T37" fmla="*/ 1589 h 388"/>
              <a:gd name="T38" fmla="*/ 539 w 395"/>
              <a:gd name="T39" fmla="*/ 1521 h 388"/>
              <a:gd name="T40" fmla="*/ 539 w 395"/>
              <a:gd name="T41" fmla="*/ 1703 h 388"/>
              <a:gd name="T42" fmla="*/ 703 w 395"/>
              <a:gd name="T43" fmla="*/ 1589 h 388"/>
              <a:gd name="T44" fmla="*/ 786 w 395"/>
              <a:gd name="T45" fmla="*/ 1767 h 388"/>
              <a:gd name="T46" fmla="*/ 918 w 395"/>
              <a:gd name="T47" fmla="*/ 1603 h 388"/>
              <a:gd name="T48" fmla="*/ 1032 w 395"/>
              <a:gd name="T49" fmla="*/ 1767 h 388"/>
              <a:gd name="T50" fmla="*/ 1096 w 395"/>
              <a:gd name="T51" fmla="*/ 1589 h 388"/>
              <a:gd name="T52" fmla="*/ 1261 w 395"/>
              <a:gd name="T53" fmla="*/ 1703 h 388"/>
              <a:gd name="T54" fmla="*/ 1274 w 395"/>
              <a:gd name="T55" fmla="*/ 1507 h 388"/>
              <a:gd name="T56" fmla="*/ 1439 w 395"/>
              <a:gd name="T57" fmla="*/ 1589 h 388"/>
              <a:gd name="T58" fmla="*/ 1407 w 395"/>
              <a:gd name="T59" fmla="*/ 1393 h 388"/>
              <a:gd name="T60" fmla="*/ 1621 w 395"/>
              <a:gd name="T61" fmla="*/ 1425 h 388"/>
              <a:gd name="T62" fmla="*/ 1521 w 395"/>
              <a:gd name="T63" fmla="*/ 1242 h 388"/>
              <a:gd name="T64" fmla="*/ 1717 w 395"/>
              <a:gd name="T65" fmla="*/ 1229 h 388"/>
              <a:gd name="T66" fmla="*/ 1603 w 395"/>
              <a:gd name="T67" fmla="*/ 1064 h 388"/>
              <a:gd name="T68" fmla="*/ 1781 w 395"/>
              <a:gd name="T69" fmla="*/ 1014 h 388"/>
              <a:gd name="T70" fmla="*/ 1621 w 395"/>
              <a:gd name="T71" fmla="*/ 886 h 388"/>
              <a:gd name="T72" fmla="*/ 1781 w 395"/>
              <a:gd name="T73" fmla="*/ 754 h 388"/>
              <a:gd name="T74" fmla="*/ 1585 w 395"/>
              <a:gd name="T75" fmla="*/ 690 h 388"/>
              <a:gd name="T76" fmla="*/ 1735 w 395"/>
              <a:gd name="T77" fmla="*/ 525 h 388"/>
              <a:gd name="T78" fmla="*/ 1521 w 395"/>
              <a:gd name="T79" fmla="*/ 493 h 388"/>
              <a:gd name="T80" fmla="*/ 1585 w 395"/>
              <a:gd name="T81" fmla="*/ 311 h 388"/>
              <a:gd name="T82" fmla="*/ 1407 w 395"/>
              <a:gd name="T83" fmla="*/ 343 h 388"/>
              <a:gd name="T84" fmla="*/ 1425 w 395"/>
              <a:gd name="T85" fmla="*/ 164 h 388"/>
              <a:gd name="T86" fmla="*/ 1261 w 395"/>
              <a:gd name="T87" fmla="*/ 228 h 388"/>
              <a:gd name="T88" fmla="*/ 1210 w 395"/>
              <a:gd name="T89" fmla="*/ 50 h 388"/>
              <a:gd name="T90" fmla="*/ 1078 w 395"/>
              <a:gd name="T91" fmla="*/ 164 h 388"/>
              <a:gd name="T92" fmla="*/ 996 w 395"/>
              <a:gd name="T93" fmla="*/ 0 h 388"/>
              <a:gd name="T94" fmla="*/ 881 w 395"/>
              <a:gd name="T95" fmla="*/ 132 h 388"/>
              <a:gd name="T96" fmla="*/ 754 w 395"/>
              <a:gd name="T97" fmla="*/ 18 h 38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95"/>
              <a:gd name="T148" fmla="*/ 0 h 388"/>
              <a:gd name="T149" fmla="*/ 395 w 395"/>
              <a:gd name="T150" fmla="*/ 388 h 38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95" h="388">
                <a:moveTo>
                  <a:pt x="165" y="4"/>
                </a:moveTo>
                <a:lnTo>
                  <a:pt x="165" y="4"/>
                </a:lnTo>
                <a:lnTo>
                  <a:pt x="161" y="36"/>
                </a:lnTo>
                <a:lnTo>
                  <a:pt x="154" y="36"/>
                </a:lnTo>
                <a:lnTo>
                  <a:pt x="133" y="11"/>
                </a:lnTo>
                <a:lnTo>
                  <a:pt x="122" y="14"/>
                </a:lnTo>
                <a:lnTo>
                  <a:pt x="122" y="50"/>
                </a:lnTo>
                <a:lnTo>
                  <a:pt x="118" y="54"/>
                </a:lnTo>
                <a:lnTo>
                  <a:pt x="86" y="32"/>
                </a:lnTo>
                <a:lnTo>
                  <a:pt x="75" y="39"/>
                </a:lnTo>
                <a:lnTo>
                  <a:pt x="86" y="72"/>
                </a:lnTo>
                <a:lnTo>
                  <a:pt x="82" y="79"/>
                </a:lnTo>
                <a:lnTo>
                  <a:pt x="50" y="65"/>
                </a:lnTo>
                <a:lnTo>
                  <a:pt x="43" y="75"/>
                </a:lnTo>
                <a:lnTo>
                  <a:pt x="61" y="104"/>
                </a:lnTo>
                <a:lnTo>
                  <a:pt x="57" y="108"/>
                </a:lnTo>
                <a:lnTo>
                  <a:pt x="21" y="104"/>
                </a:lnTo>
                <a:lnTo>
                  <a:pt x="18" y="115"/>
                </a:lnTo>
                <a:lnTo>
                  <a:pt x="47" y="140"/>
                </a:lnTo>
                <a:lnTo>
                  <a:pt x="43" y="147"/>
                </a:lnTo>
                <a:lnTo>
                  <a:pt x="7" y="151"/>
                </a:lnTo>
                <a:lnTo>
                  <a:pt x="4" y="161"/>
                </a:lnTo>
                <a:lnTo>
                  <a:pt x="39" y="183"/>
                </a:lnTo>
                <a:lnTo>
                  <a:pt x="36" y="190"/>
                </a:lnTo>
                <a:lnTo>
                  <a:pt x="0" y="204"/>
                </a:lnTo>
                <a:lnTo>
                  <a:pt x="4" y="215"/>
                </a:lnTo>
                <a:lnTo>
                  <a:pt x="39" y="222"/>
                </a:lnTo>
                <a:lnTo>
                  <a:pt x="43" y="233"/>
                </a:lnTo>
                <a:lnTo>
                  <a:pt x="11" y="254"/>
                </a:lnTo>
                <a:lnTo>
                  <a:pt x="14" y="265"/>
                </a:lnTo>
                <a:lnTo>
                  <a:pt x="54" y="265"/>
                </a:lnTo>
                <a:lnTo>
                  <a:pt x="57" y="272"/>
                </a:lnTo>
                <a:lnTo>
                  <a:pt x="36" y="301"/>
                </a:lnTo>
                <a:lnTo>
                  <a:pt x="43" y="312"/>
                </a:lnTo>
                <a:lnTo>
                  <a:pt x="82" y="301"/>
                </a:lnTo>
                <a:lnTo>
                  <a:pt x="86" y="308"/>
                </a:lnTo>
                <a:lnTo>
                  <a:pt x="72" y="344"/>
                </a:lnTo>
                <a:lnTo>
                  <a:pt x="79" y="348"/>
                </a:lnTo>
                <a:lnTo>
                  <a:pt x="115" y="330"/>
                </a:lnTo>
                <a:lnTo>
                  <a:pt x="118" y="333"/>
                </a:lnTo>
                <a:lnTo>
                  <a:pt x="111" y="369"/>
                </a:lnTo>
                <a:lnTo>
                  <a:pt x="118" y="373"/>
                </a:lnTo>
                <a:lnTo>
                  <a:pt x="150" y="344"/>
                </a:lnTo>
                <a:lnTo>
                  <a:pt x="154" y="348"/>
                </a:lnTo>
                <a:lnTo>
                  <a:pt x="158" y="383"/>
                </a:lnTo>
                <a:lnTo>
                  <a:pt x="172" y="387"/>
                </a:lnTo>
                <a:lnTo>
                  <a:pt x="193" y="351"/>
                </a:lnTo>
                <a:lnTo>
                  <a:pt x="201" y="351"/>
                </a:lnTo>
                <a:lnTo>
                  <a:pt x="215" y="387"/>
                </a:lnTo>
                <a:lnTo>
                  <a:pt x="226" y="387"/>
                </a:lnTo>
                <a:lnTo>
                  <a:pt x="233" y="348"/>
                </a:lnTo>
                <a:lnTo>
                  <a:pt x="240" y="348"/>
                </a:lnTo>
                <a:lnTo>
                  <a:pt x="261" y="376"/>
                </a:lnTo>
                <a:lnTo>
                  <a:pt x="276" y="373"/>
                </a:lnTo>
                <a:lnTo>
                  <a:pt x="272" y="333"/>
                </a:lnTo>
                <a:lnTo>
                  <a:pt x="279" y="330"/>
                </a:lnTo>
                <a:lnTo>
                  <a:pt x="312" y="351"/>
                </a:lnTo>
                <a:lnTo>
                  <a:pt x="315" y="348"/>
                </a:lnTo>
                <a:lnTo>
                  <a:pt x="304" y="308"/>
                </a:lnTo>
                <a:lnTo>
                  <a:pt x="308" y="305"/>
                </a:lnTo>
                <a:lnTo>
                  <a:pt x="347" y="319"/>
                </a:lnTo>
                <a:lnTo>
                  <a:pt x="355" y="312"/>
                </a:lnTo>
                <a:lnTo>
                  <a:pt x="330" y="276"/>
                </a:lnTo>
                <a:lnTo>
                  <a:pt x="333" y="272"/>
                </a:lnTo>
                <a:lnTo>
                  <a:pt x="373" y="280"/>
                </a:lnTo>
                <a:lnTo>
                  <a:pt x="376" y="269"/>
                </a:lnTo>
                <a:lnTo>
                  <a:pt x="347" y="240"/>
                </a:lnTo>
                <a:lnTo>
                  <a:pt x="351" y="233"/>
                </a:lnTo>
                <a:lnTo>
                  <a:pt x="390" y="233"/>
                </a:lnTo>
                <a:lnTo>
                  <a:pt x="390" y="222"/>
                </a:lnTo>
                <a:lnTo>
                  <a:pt x="355" y="201"/>
                </a:lnTo>
                <a:lnTo>
                  <a:pt x="355" y="194"/>
                </a:lnTo>
                <a:lnTo>
                  <a:pt x="394" y="179"/>
                </a:lnTo>
                <a:lnTo>
                  <a:pt x="390" y="165"/>
                </a:lnTo>
                <a:lnTo>
                  <a:pt x="351" y="158"/>
                </a:lnTo>
                <a:lnTo>
                  <a:pt x="347" y="151"/>
                </a:lnTo>
                <a:lnTo>
                  <a:pt x="383" y="125"/>
                </a:lnTo>
                <a:lnTo>
                  <a:pt x="380" y="115"/>
                </a:lnTo>
                <a:lnTo>
                  <a:pt x="337" y="115"/>
                </a:lnTo>
                <a:lnTo>
                  <a:pt x="333" y="108"/>
                </a:lnTo>
                <a:lnTo>
                  <a:pt x="355" y="79"/>
                </a:lnTo>
                <a:lnTo>
                  <a:pt x="347" y="68"/>
                </a:lnTo>
                <a:lnTo>
                  <a:pt x="312" y="82"/>
                </a:lnTo>
                <a:lnTo>
                  <a:pt x="308" y="75"/>
                </a:lnTo>
                <a:lnTo>
                  <a:pt x="322" y="39"/>
                </a:lnTo>
                <a:lnTo>
                  <a:pt x="312" y="36"/>
                </a:lnTo>
                <a:lnTo>
                  <a:pt x="279" y="54"/>
                </a:lnTo>
                <a:lnTo>
                  <a:pt x="276" y="50"/>
                </a:lnTo>
                <a:lnTo>
                  <a:pt x="276" y="14"/>
                </a:lnTo>
                <a:lnTo>
                  <a:pt x="265" y="11"/>
                </a:lnTo>
                <a:lnTo>
                  <a:pt x="244" y="39"/>
                </a:lnTo>
                <a:lnTo>
                  <a:pt x="236" y="36"/>
                </a:lnTo>
                <a:lnTo>
                  <a:pt x="229" y="0"/>
                </a:lnTo>
                <a:lnTo>
                  <a:pt x="218" y="0"/>
                </a:lnTo>
                <a:lnTo>
                  <a:pt x="201" y="29"/>
                </a:lnTo>
                <a:lnTo>
                  <a:pt x="193" y="29"/>
                </a:lnTo>
                <a:lnTo>
                  <a:pt x="176" y="0"/>
                </a:lnTo>
                <a:lnTo>
                  <a:pt x="165" y="4"/>
                </a:lnTo>
              </a:path>
            </a:pathLst>
          </a:custGeom>
          <a:solidFill>
            <a:schemeClr val="tx2"/>
          </a:solidFill>
          <a:ln w="9525" cap="rnd" cmpd="sng">
            <a:solidFill>
              <a:schemeClr val="bg1"/>
            </a:solidFill>
            <a:prstDash val="solid"/>
            <a:round/>
            <a:headEnd type="none" w="sm" len="sm"/>
            <a:tailEnd type="none" w="sm" len="sm"/>
          </a:ln>
          <a:effectLst/>
        </p:spPr>
        <p:txBody>
          <a:bodyPr anchor="ctr" anchorCtr="0">
            <a:prstTxWarp prst="textNoShape">
              <a:avLst/>
            </a:prstTxWarp>
          </a:bodyPr>
          <a:lstStyle/>
          <a:p>
            <a:endParaRPr lang="en-GB" sz="1600" dirty="0">
              <a:solidFill>
                <a:srgbClr val="FFFFFF"/>
              </a:solidFill>
              <a:latin typeface="Garamond"/>
            </a:endParaRPr>
          </a:p>
        </p:txBody>
      </p:sp>
      <p:sp>
        <p:nvSpPr>
          <p:cNvPr id="33" name="Oval 7"/>
          <p:cNvSpPr>
            <a:spLocks noChangeArrowheads="1"/>
          </p:cNvSpPr>
          <p:nvPr/>
        </p:nvSpPr>
        <p:spPr bwMode="auto">
          <a:xfrm rot="194017">
            <a:off x="2062155" y="3517551"/>
            <a:ext cx="1561708" cy="1608607"/>
          </a:xfrm>
          <a:prstGeom prst="ellipse">
            <a:avLst/>
          </a:prstGeom>
          <a:solidFill>
            <a:srgbClr val="FFFFFF"/>
          </a:solidFill>
          <a:ln w="12700">
            <a:noFill/>
            <a:round/>
            <a:headEnd/>
            <a:tailEnd/>
          </a:ln>
        </p:spPr>
        <p:txBody>
          <a:bodyPr wrap="none" anchor="ctr">
            <a:prstTxWarp prst="textNoShape">
              <a:avLst/>
            </a:prstTxWarp>
          </a:bodyPr>
          <a:lstStyle/>
          <a:p>
            <a:endParaRPr lang="en-GB" dirty="0">
              <a:latin typeface="Garamond"/>
            </a:endParaRPr>
          </a:p>
        </p:txBody>
      </p:sp>
      <p:sp>
        <p:nvSpPr>
          <p:cNvPr id="34" name="Oval 8"/>
          <p:cNvSpPr>
            <a:spLocks noChangeArrowheads="1"/>
          </p:cNvSpPr>
          <p:nvPr/>
        </p:nvSpPr>
        <p:spPr bwMode="auto">
          <a:xfrm rot="194017">
            <a:off x="2622415" y="4087876"/>
            <a:ext cx="441189" cy="467959"/>
          </a:xfrm>
          <a:prstGeom prst="ellipse">
            <a:avLst/>
          </a:prstGeom>
          <a:solidFill>
            <a:srgbClr val="4F81BD"/>
          </a:solidFill>
          <a:ln w="12700">
            <a:solidFill>
              <a:schemeClr val="accent1"/>
            </a:solidFill>
            <a:round/>
            <a:headEnd/>
            <a:tailEnd/>
          </a:ln>
        </p:spPr>
        <p:txBody>
          <a:bodyPr wrap="none" anchor="ctr">
            <a:prstTxWarp prst="textNoShape">
              <a:avLst/>
            </a:prstTxWarp>
          </a:bodyPr>
          <a:lstStyle/>
          <a:p>
            <a:endParaRPr lang="en-GB" dirty="0">
              <a:latin typeface="Garamond"/>
            </a:endParaRPr>
          </a:p>
        </p:txBody>
      </p:sp>
      <p:sp>
        <p:nvSpPr>
          <p:cNvPr id="35" name="Oval 9"/>
          <p:cNvSpPr>
            <a:spLocks noChangeArrowheads="1"/>
          </p:cNvSpPr>
          <p:nvPr/>
        </p:nvSpPr>
        <p:spPr bwMode="auto">
          <a:xfrm rot="194017">
            <a:off x="2789295" y="4263215"/>
            <a:ext cx="102777" cy="110343"/>
          </a:xfrm>
          <a:prstGeom prst="ellipse">
            <a:avLst/>
          </a:prstGeom>
          <a:solidFill>
            <a:srgbClr val="FFFFFF"/>
          </a:solidFill>
          <a:ln w="12700">
            <a:solidFill>
              <a:srgbClr val="4F81BD"/>
            </a:solidFill>
            <a:round/>
            <a:headEnd/>
            <a:tailEnd/>
          </a:ln>
        </p:spPr>
        <p:txBody>
          <a:bodyPr wrap="none" anchor="ctr">
            <a:prstTxWarp prst="textNoShape">
              <a:avLst/>
            </a:prstTxWarp>
          </a:bodyPr>
          <a:lstStyle/>
          <a:p>
            <a:endParaRPr lang="en-GB" dirty="0">
              <a:latin typeface="Garamond"/>
            </a:endParaRPr>
          </a:p>
        </p:txBody>
      </p:sp>
      <p:sp>
        <p:nvSpPr>
          <p:cNvPr id="36" name="Freeform 11"/>
          <p:cNvSpPr>
            <a:spLocks/>
          </p:cNvSpPr>
          <p:nvPr/>
        </p:nvSpPr>
        <p:spPr bwMode="auto">
          <a:xfrm>
            <a:off x="3426941" y="2096388"/>
            <a:ext cx="1809877" cy="1887787"/>
          </a:xfrm>
          <a:custGeom>
            <a:avLst/>
            <a:gdLst>
              <a:gd name="T0" fmla="*/ 957564 w 316"/>
              <a:gd name="T1" fmla="*/ 21745 h 311"/>
              <a:gd name="T2" fmla="*/ 892275 w 316"/>
              <a:gd name="T3" fmla="*/ 210203 h 311"/>
              <a:gd name="T4" fmla="*/ 703664 w 316"/>
              <a:gd name="T5" fmla="*/ 79732 h 311"/>
              <a:gd name="T6" fmla="*/ 689156 w 316"/>
              <a:gd name="T7" fmla="*/ 311681 h 311"/>
              <a:gd name="T8" fmla="*/ 435256 w 316"/>
              <a:gd name="T9" fmla="*/ 231949 h 311"/>
              <a:gd name="T10" fmla="*/ 478782 w 316"/>
              <a:gd name="T11" fmla="*/ 456649 h 311"/>
              <a:gd name="T12" fmla="*/ 246645 w 316"/>
              <a:gd name="T13" fmla="*/ 434904 h 311"/>
              <a:gd name="T14" fmla="*/ 333697 w 316"/>
              <a:gd name="T15" fmla="*/ 623362 h 311"/>
              <a:gd name="T16" fmla="*/ 101560 w 316"/>
              <a:gd name="T17" fmla="*/ 666852 h 311"/>
              <a:gd name="T18" fmla="*/ 246645 w 316"/>
              <a:gd name="T19" fmla="*/ 855310 h 311"/>
              <a:gd name="T20" fmla="*/ 21763 w 316"/>
              <a:gd name="T21" fmla="*/ 935043 h 311"/>
              <a:gd name="T22" fmla="*/ 210374 w 316"/>
              <a:gd name="T23" fmla="*/ 1101756 h 311"/>
              <a:gd name="T24" fmla="*/ 21763 w 316"/>
              <a:gd name="T25" fmla="*/ 1246723 h 311"/>
              <a:gd name="T26" fmla="*/ 246645 w 316"/>
              <a:gd name="T27" fmla="*/ 1355449 h 311"/>
              <a:gd name="T28" fmla="*/ 79797 w 316"/>
              <a:gd name="T29" fmla="*/ 1536659 h 311"/>
              <a:gd name="T30" fmla="*/ 333697 w 316"/>
              <a:gd name="T31" fmla="*/ 1580150 h 311"/>
              <a:gd name="T32" fmla="*/ 246645 w 316"/>
              <a:gd name="T33" fmla="*/ 1812098 h 311"/>
              <a:gd name="T34" fmla="*/ 500545 w 316"/>
              <a:gd name="T35" fmla="*/ 1790353 h 311"/>
              <a:gd name="T36" fmla="*/ 457019 w 316"/>
              <a:gd name="T37" fmla="*/ 2015053 h 311"/>
              <a:gd name="T38" fmla="*/ 689156 w 316"/>
              <a:gd name="T39" fmla="*/ 1935321 h 311"/>
              <a:gd name="T40" fmla="*/ 689156 w 316"/>
              <a:gd name="T41" fmla="*/ 2167269 h 311"/>
              <a:gd name="T42" fmla="*/ 892275 w 316"/>
              <a:gd name="T43" fmla="*/ 2015053 h 311"/>
              <a:gd name="T44" fmla="*/ 993835 w 316"/>
              <a:gd name="T45" fmla="*/ 2247002 h 311"/>
              <a:gd name="T46" fmla="*/ 1160684 w 316"/>
              <a:gd name="T47" fmla="*/ 2036798 h 311"/>
              <a:gd name="T48" fmla="*/ 1305769 w 316"/>
              <a:gd name="T49" fmla="*/ 2247002 h 311"/>
              <a:gd name="T50" fmla="*/ 1392820 w 316"/>
              <a:gd name="T51" fmla="*/ 2015053 h 311"/>
              <a:gd name="T52" fmla="*/ 1603194 w 316"/>
              <a:gd name="T53" fmla="*/ 2167269 h 311"/>
              <a:gd name="T54" fmla="*/ 1617703 w 316"/>
              <a:gd name="T55" fmla="*/ 1913576 h 311"/>
              <a:gd name="T56" fmla="*/ 1828077 w 316"/>
              <a:gd name="T57" fmla="*/ 2015053 h 311"/>
              <a:gd name="T58" fmla="*/ 1784551 w 316"/>
              <a:gd name="T59" fmla="*/ 1768608 h 311"/>
              <a:gd name="T60" fmla="*/ 2060213 w 316"/>
              <a:gd name="T61" fmla="*/ 1812098 h 311"/>
              <a:gd name="T62" fmla="*/ 1929636 w 316"/>
              <a:gd name="T63" fmla="*/ 1580150 h 311"/>
              <a:gd name="T64" fmla="*/ 2183536 w 316"/>
              <a:gd name="T65" fmla="*/ 1558404 h 311"/>
              <a:gd name="T66" fmla="*/ 2038450 w 316"/>
              <a:gd name="T67" fmla="*/ 1355449 h 311"/>
              <a:gd name="T68" fmla="*/ 2263333 w 316"/>
              <a:gd name="T69" fmla="*/ 1290214 h 311"/>
              <a:gd name="T70" fmla="*/ 2060213 w 316"/>
              <a:gd name="T71" fmla="*/ 1123501 h 311"/>
              <a:gd name="T72" fmla="*/ 2263333 w 316"/>
              <a:gd name="T73" fmla="*/ 956788 h 311"/>
              <a:gd name="T74" fmla="*/ 2016688 w 316"/>
              <a:gd name="T75" fmla="*/ 877055 h 311"/>
              <a:gd name="T76" fmla="*/ 2205299 w 316"/>
              <a:gd name="T77" fmla="*/ 666852 h 311"/>
              <a:gd name="T78" fmla="*/ 1929636 w 316"/>
              <a:gd name="T79" fmla="*/ 623362 h 311"/>
              <a:gd name="T80" fmla="*/ 2016688 w 316"/>
              <a:gd name="T81" fmla="*/ 398662 h 311"/>
              <a:gd name="T82" fmla="*/ 1784551 w 316"/>
              <a:gd name="T83" fmla="*/ 434904 h 311"/>
              <a:gd name="T84" fmla="*/ 1806314 w 316"/>
              <a:gd name="T85" fmla="*/ 210203 h 311"/>
              <a:gd name="T86" fmla="*/ 1603194 w 316"/>
              <a:gd name="T87" fmla="*/ 289936 h 311"/>
              <a:gd name="T88" fmla="*/ 1537906 w 316"/>
              <a:gd name="T89" fmla="*/ 65236 h 311"/>
              <a:gd name="T90" fmla="*/ 1371057 w 316"/>
              <a:gd name="T91" fmla="*/ 210203 h 311"/>
              <a:gd name="T92" fmla="*/ 1269498 w 316"/>
              <a:gd name="T93" fmla="*/ 0 h 311"/>
              <a:gd name="T94" fmla="*/ 1124412 w 316"/>
              <a:gd name="T95" fmla="*/ 166713 h 311"/>
              <a:gd name="T96" fmla="*/ 957564 w 316"/>
              <a:gd name="T97" fmla="*/ 21745 h 31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16"/>
              <a:gd name="T148" fmla="*/ 0 h 311"/>
              <a:gd name="T149" fmla="*/ 316 w 316"/>
              <a:gd name="T150" fmla="*/ 311 h 31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16" h="311">
                <a:moveTo>
                  <a:pt x="132" y="3"/>
                </a:moveTo>
                <a:lnTo>
                  <a:pt x="132" y="3"/>
                </a:lnTo>
                <a:lnTo>
                  <a:pt x="129" y="29"/>
                </a:lnTo>
                <a:lnTo>
                  <a:pt x="123" y="29"/>
                </a:lnTo>
                <a:lnTo>
                  <a:pt x="106" y="9"/>
                </a:lnTo>
                <a:lnTo>
                  <a:pt x="97" y="11"/>
                </a:lnTo>
                <a:lnTo>
                  <a:pt x="97" y="40"/>
                </a:lnTo>
                <a:lnTo>
                  <a:pt x="95" y="43"/>
                </a:lnTo>
                <a:lnTo>
                  <a:pt x="69" y="26"/>
                </a:lnTo>
                <a:lnTo>
                  <a:pt x="60" y="32"/>
                </a:lnTo>
                <a:lnTo>
                  <a:pt x="69" y="57"/>
                </a:lnTo>
                <a:lnTo>
                  <a:pt x="66" y="63"/>
                </a:lnTo>
                <a:lnTo>
                  <a:pt x="40" y="52"/>
                </a:lnTo>
                <a:lnTo>
                  <a:pt x="34" y="60"/>
                </a:lnTo>
                <a:lnTo>
                  <a:pt x="49" y="83"/>
                </a:lnTo>
                <a:lnTo>
                  <a:pt x="46" y="86"/>
                </a:lnTo>
                <a:lnTo>
                  <a:pt x="17" y="83"/>
                </a:lnTo>
                <a:lnTo>
                  <a:pt x="14" y="92"/>
                </a:lnTo>
                <a:lnTo>
                  <a:pt x="37" y="112"/>
                </a:lnTo>
                <a:lnTo>
                  <a:pt x="34" y="118"/>
                </a:lnTo>
                <a:lnTo>
                  <a:pt x="6" y="121"/>
                </a:lnTo>
                <a:lnTo>
                  <a:pt x="3" y="129"/>
                </a:lnTo>
                <a:lnTo>
                  <a:pt x="32" y="146"/>
                </a:lnTo>
                <a:lnTo>
                  <a:pt x="29" y="152"/>
                </a:lnTo>
                <a:lnTo>
                  <a:pt x="0" y="164"/>
                </a:lnTo>
                <a:lnTo>
                  <a:pt x="3" y="172"/>
                </a:lnTo>
                <a:lnTo>
                  <a:pt x="32" y="178"/>
                </a:lnTo>
                <a:lnTo>
                  <a:pt x="34" y="187"/>
                </a:lnTo>
                <a:lnTo>
                  <a:pt x="9" y="204"/>
                </a:lnTo>
                <a:lnTo>
                  <a:pt x="11" y="212"/>
                </a:lnTo>
                <a:lnTo>
                  <a:pt x="43" y="212"/>
                </a:lnTo>
                <a:lnTo>
                  <a:pt x="46" y="218"/>
                </a:lnTo>
                <a:lnTo>
                  <a:pt x="29" y="241"/>
                </a:lnTo>
                <a:lnTo>
                  <a:pt x="34" y="250"/>
                </a:lnTo>
                <a:lnTo>
                  <a:pt x="66" y="241"/>
                </a:lnTo>
                <a:lnTo>
                  <a:pt x="69" y="247"/>
                </a:lnTo>
                <a:lnTo>
                  <a:pt x="57" y="276"/>
                </a:lnTo>
                <a:lnTo>
                  <a:pt x="63" y="278"/>
                </a:lnTo>
                <a:lnTo>
                  <a:pt x="92" y="264"/>
                </a:lnTo>
                <a:lnTo>
                  <a:pt x="95" y="267"/>
                </a:lnTo>
                <a:lnTo>
                  <a:pt x="89" y="296"/>
                </a:lnTo>
                <a:lnTo>
                  <a:pt x="95" y="299"/>
                </a:lnTo>
                <a:lnTo>
                  <a:pt x="120" y="276"/>
                </a:lnTo>
                <a:lnTo>
                  <a:pt x="123" y="278"/>
                </a:lnTo>
                <a:lnTo>
                  <a:pt x="126" y="307"/>
                </a:lnTo>
                <a:lnTo>
                  <a:pt x="137" y="310"/>
                </a:lnTo>
                <a:lnTo>
                  <a:pt x="155" y="281"/>
                </a:lnTo>
                <a:lnTo>
                  <a:pt x="160" y="281"/>
                </a:lnTo>
                <a:lnTo>
                  <a:pt x="172" y="310"/>
                </a:lnTo>
                <a:lnTo>
                  <a:pt x="180" y="310"/>
                </a:lnTo>
                <a:lnTo>
                  <a:pt x="186" y="278"/>
                </a:lnTo>
                <a:lnTo>
                  <a:pt x="192" y="278"/>
                </a:lnTo>
                <a:lnTo>
                  <a:pt x="209" y="301"/>
                </a:lnTo>
                <a:lnTo>
                  <a:pt x="221" y="299"/>
                </a:lnTo>
                <a:lnTo>
                  <a:pt x="218" y="267"/>
                </a:lnTo>
                <a:lnTo>
                  <a:pt x="223" y="264"/>
                </a:lnTo>
                <a:lnTo>
                  <a:pt x="249" y="281"/>
                </a:lnTo>
                <a:lnTo>
                  <a:pt x="252" y="278"/>
                </a:lnTo>
                <a:lnTo>
                  <a:pt x="243" y="247"/>
                </a:lnTo>
                <a:lnTo>
                  <a:pt x="246" y="244"/>
                </a:lnTo>
                <a:lnTo>
                  <a:pt x="278" y="255"/>
                </a:lnTo>
                <a:lnTo>
                  <a:pt x="284" y="250"/>
                </a:lnTo>
                <a:lnTo>
                  <a:pt x="263" y="221"/>
                </a:lnTo>
                <a:lnTo>
                  <a:pt x="266" y="218"/>
                </a:lnTo>
                <a:lnTo>
                  <a:pt x="298" y="224"/>
                </a:lnTo>
                <a:lnTo>
                  <a:pt x="301" y="215"/>
                </a:lnTo>
                <a:lnTo>
                  <a:pt x="278" y="192"/>
                </a:lnTo>
                <a:lnTo>
                  <a:pt x="281" y="187"/>
                </a:lnTo>
                <a:lnTo>
                  <a:pt x="312" y="187"/>
                </a:lnTo>
                <a:lnTo>
                  <a:pt x="312" y="178"/>
                </a:lnTo>
                <a:lnTo>
                  <a:pt x="284" y="161"/>
                </a:lnTo>
                <a:lnTo>
                  <a:pt x="284" y="155"/>
                </a:lnTo>
                <a:lnTo>
                  <a:pt x="315" y="144"/>
                </a:lnTo>
                <a:lnTo>
                  <a:pt x="312" y="132"/>
                </a:lnTo>
                <a:lnTo>
                  <a:pt x="281" y="126"/>
                </a:lnTo>
                <a:lnTo>
                  <a:pt x="278" y="121"/>
                </a:lnTo>
                <a:lnTo>
                  <a:pt x="306" y="100"/>
                </a:lnTo>
                <a:lnTo>
                  <a:pt x="304" y="92"/>
                </a:lnTo>
                <a:lnTo>
                  <a:pt x="269" y="92"/>
                </a:lnTo>
                <a:lnTo>
                  <a:pt x="266" y="86"/>
                </a:lnTo>
                <a:lnTo>
                  <a:pt x="284" y="63"/>
                </a:lnTo>
                <a:lnTo>
                  <a:pt x="278" y="55"/>
                </a:lnTo>
                <a:lnTo>
                  <a:pt x="249" y="66"/>
                </a:lnTo>
                <a:lnTo>
                  <a:pt x="246" y="60"/>
                </a:lnTo>
                <a:lnTo>
                  <a:pt x="258" y="32"/>
                </a:lnTo>
                <a:lnTo>
                  <a:pt x="249" y="29"/>
                </a:lnTo>
                <a:lnTo>
                  <a:pt x="223" y="43"/>
                </a:lnTo>
                <a:lnTo>
                  <a:pt x="221" y="40"/>
                </a:lnTo>
                <a:lnTo>
                  <a:pt x="221" y="11"/>
                </a:lnTo>
                <a:lnTo>
                  <a:pt x="212" y="9"/>
                </a:lnTo>
                <a:lnTo>
                  <a:pt x="195" y="32"/>
                </a:lnTo>
                <a:lnTo>
                  <a:pt x="189" y="29"/>
                </a:lnTo>
                <a:lnTo>
                  <a:pt x="183" y="0"/>
                </a:lnTo>
                <a:lnTo>
                  <a:pt x="175" y="0"/>
                </a:lnTo>
                <a:lnTo>
                  <a:pt x="160" y="23"/>
                </a:lnTo>
                <a:lnTo>
                  <a:pt x="155" y="23"/>
                </a:lnTo>
                <a:lnTo>
                  <a:pt x="140" y="0"/>
                </a:lnTo>
                <a:lnTo>
                  <a:pt x="132" y="3"/>
                </a:lnTo>
              </a:path>
            </a:pathLst>
          </a:custGeom>
          <a:solidFill>
            <a:schemeClr val="tx2"/>
          </a:solidFill>
          <a:ln w="9525" cap="rnd" cmpd="sng">
            <a:solidFill>
              <a:schemeClr val="bg1"/>
            </a:solidFill>
            <a:prstDash val="solid"/>
            <a:round/>
            <a:headEnd type="none" w="sm" len="sm"/>
            <a:tailEnd type="none" w="sm" len="sm"/>
          </a:ln>
          <a:effectLst/>
        </p:spPr>
        <p:txBody>
          <a:bodyPr anchor="ctr" anchorCtr="0">
            <a:prstTxWarp prst="textNoShape">
              <a:avLst/>
            </a:prstTxWarp>
          </a:bodyPr>
          <a:lstStyle/>
          <a:p>
            <a:endParaRPr lang="en-GB" sz="1600" dirty="0">
              <a:solidFill>
                <a:srgbClr val="FFFFFF"/>
              </a:solidFill>
              <a:latin typeface="Garamond"/>
            </a:endParaRPr>
          </a:p>
        </p:txBody>
      </p:sp>
      <p:sp>
        <p:nvSpPr>
          <p:cNvPr id="37" name="Oval 12"/>
          <p:cNvSpPr>
            <a:spLocks noChangeArrowheads="1"/>
          </p:cNvSpPr>
          <p:nvPr/>
        </p:nvSpPr>
        <p:spPr bwMode="auto">
          <a:xfrm>
            <a:off x="3712712" y="2399499"/>
            <a:ext cx="1238337" cy="1274921"/>
          </a:xfrm>
          <a:prstGeom prst="ellipse">
            <a:avLst/>
          </a:prstGeom>
          <a:solidFill>
            <a:srgbClr val="FFFFFF"/>
          </a:solidFill>
          <a:ln w="12700">
            <a:solidFill>
              <a:srgbClr val="FFFFFF"/>
            </a:solidFill>
            <a:round/>
            <a:headEnd/>
            <a:tailEnd/>
          </a:ln>
        </p:spPr>
        <p:txBody>
          <a:bodyPr wrap="none" anchor="ctr">
            <a:prstTxWarp prst="textNoShape">
              <a:avLst/>
            </a:prstTxWarp>
          </a:bodyPr>
          <a:lstStyle/>
          <a:p>
            <a:endParaRPr lang="en-GB" dirty="0">
              <a:latin typeface="Garamond"/>
            </a:endParaRPr>
          </a:p>
        </p:txBody>
      </p:sp>
      <p:sp>
        <p:nvSpPr>
          <p:cNvPr id="38" name="Oval 13"/>
          <p:cNvSpPr>
            <a:spLocks noChangeArrowheads="1"/>
          </p:cNvSpPr>
          <p:nvPr/>
        </p:nvSpPr>
        <p:spPr bwMode="auto">
          <a:xfrm>
            <a:off x="4160168" y="2855492"/>
            <a:ext cx="343425" cy="364263"/>
          </a:xfrm>
          <a:prstGeom prst="ellipse">
            <a:avLst/>
          </a:prstGeom>
          <a:solidFill>
            <a:srgbClr val="4F81BD"/>
          </a:solidFill>
          <a:ln w="12700">
            <a:solidFill>
              <a:schemeClr val="accent1"/>
            </a:solidFill>
            <a:round/>
            <a:headEnd/>
            <a:tailEnd/>
          </a:ln>
        </p:spPr>
        <p:txBody>
          <a:bodyPr wrap="none" anchor="ctr">
            <a:prstTxWarp prst="textNoShape">
              <a:avLst/>
            </a:prstTxWarp>
          </a:bodyPr>
          <a:lstStyle/>
          <a:p>
            <a:endParaRPr lang="en-GB" dirty="0">
              <a:latin typeface="Garamond"/>
            </a:endParaRPr>
          </a:p>
        </p:txBody>
      </p:sp>
      <p:sp>
        <p:nvSpPr>
          <p:cNvPr id="39" name="Oval 14"/>
          <p:cNvSpPr>
            <a:spLocks noChangeArrowheads="1"/>
          </p:cNvSpPr>
          <p:nvPr/>
        </p:nvSpPr>
        <p:spPr bwMode="auto">
          <a:xfrm>
            <a:off x="4291772" y="2995082"/>
            <a:ext cx="73950" cy="78437"/>
          </a:xfrm>
          <a:prstGeom prst="ellipse">
            <a:avLst/>
          </a:prstGeom>
          <a:solidFill>
            <a:srgbClr val="FFFFFF"/>
          </a:solidFill>
          <a:ln w="12700">
            <a:solidFill>
              <a:srgbClr val="4F81BD"/>
            </a:solidFill>
            <a:round/>
            <a:headEnd/>
            <a:tailEnd/>
          </a:ln>
        </p:spPr>
        <p:txBody>
          <a:bodyPr wrap="none" anchor="ctr">
            <a:prstTxWarp prst="textNoShape">
              <a:avLst/>
            </a:prstTxWarp>
          </a:bodyPr>
          <a:lstStyle/>
          <a:p>
            <a:endParaRPr lang="en-GB" dirty="0">
              <a:latin typeface="Garamond"/>
            </a:endParaRPr>
          </a:p>
        </p:txBody>
      </p:sp>
      <p:sp>
        <p:nvSpPr>
          <p:cNvPr id="40" name="Freeform 16"/>
          <p:cNvSpPr>
            <a:spLocks/>
          </p:cNvSpPr>
          <p:nvPr/>
        </p:nvSpPr>
        <p:spPr bwMode="auto">
          <a:xfrm rot="214915">
            <a:off x="5032519" y="2879422"/>
            <a:ext cx="1631898" cy="1700337"/>
          </a:xfrm>
          <a:custGeom>
            <a:avLst/>
            <a:gdLst>
              <a:gd name="T0" fmla="*/ 544 w 285"/>
              <a:gd name="T1" fmla="*/ 14 h 280"/>
              <a:gd name="T2" fmla="*/ 507 w 285"/>
              <a:gd name="T3" fmla="*/ 119 h 280"/>
              <a:gd name="T4" fmla="*/ 402 w 285"/>
              <a:gd name="T5" fmla="*/ 46 h 280"/>
              <a:gd name="T6" fmla="*/ 388 w 285"/>
              <a:gd name="T7" fmla="*/ 178 h 280"/>
              <a:gd name="T8" fmla="*/ 247 w 285"/>
              <a:gd name="T9" fmla="*/ 128 h 280"/>
              <a:gd name="T10" fmla="*/ 270 w 285"/>
              <a:gd name="T11" fmla="*/ 260 h 280"/>
              <a:gd name="T12" fmla="*/ 142 w 285"/>
              <a:gd name="T13" fmla="*/ 247 h 280"/>
              <a:gd name="T14" fmla="*/ 187 w 285"/>
              <a:gd name="T15" fmla="*/ 356 h 280"/>
              <a:gd name="T16" fmla="*/ 59 w 285"/>
              <a:gd name="T17" fmla="*/ 379 h 280"/>
              <a:gd name="T18" fmla="*/ 142 w 285"/>
              <a:gd name="T19" fmla="*/ 484 h 280"/>
              <a:gd name="T20" fmla="*/ 14 w 285"/>
              <a:gd name="T21" fmla="*/ 530 h 280"/>
              <a:gd name="T22" fmla="*/ 119 w 285"/>
              <a:gd name="T23" fmla="*/ 626 h 280"/>
              <a:gd name="T24" fmla="*/ 14 w 285"/>
              <a:gd name="T25" fmla="*/ 708 h 280"/>
              <a:gd name="T26" fmla="*/ 142 w 285"/>
              <a:gd name="T27" fmla="*/ 767 h 280"/>
              <a:gd name="T28" fmla="*/ 46 w 285"/>
              <a:gd name="T29" fmla="*/ 872 h 280"/>
              <a:gd name="T30" fmla="*/ 187 w 285"/>
              <a:gd name="T31" fmla="*/ 895 h 280"/>
              <a:gd name="T32" fmla="*/ 142 w 285"/>
              <a:gd name="T33" fmla="*/ 1028 h 280"/>
              <a:gd name="T34" fmla="*/ 283 w 285"/>
              <a:gd name="T35" fmla="*/ 1014 h 280"/>
              <a:gd name="T36" fmla="*/ 260 w 285"/>
              <a:gd name="T37" fmla="*/ 1147 h 280"/>
              <a:gd name="T38" fmla="*/ 388 w 285"/>
              <a:gd name="T39" fmla="*/ 1096 h 280"/>
              <a:gd name="T40" fmla="*/ 388 w 285"/>
              <a:gd name="T41" fmla="*/ 1229 h 280"/>
              <a:gd name="T42" fmla="*/ 507 w 285"/>
              <a:gd name="T43" fmla="*/ 1147 h 280"/>
              <a:gd name="T44" fmla="*/ 566 w 285"/>
              <a:gd name="T45" fmla="*/ 1274 h 280"/>
              <a:gd name="T46" fmla="*/ 662 w 285"/>
              <a:gd name="T47" fmla="*/ 1156 h 280"/>
              <a:gd name="T48" fmla="*/ 745 w 285"/>
              <a:gd name="T49" fmla="*/ 1274 h 280"/>
              <a:gd name="T50" fmla="*/ 790 w 285"/>
              <a:gd name="T51" fmla="*/ 1147 h 280"/>
              <a:gd name="T52" fmla="*/ 909 w 285"/>
              <a:gd name="T53" fmla="*/ 1229 h 280"/>
              <a:gd name="T54" fmla="*/ 918 w 285"/>
              <a:gd name="T55" fmla="*/ 1087 h 280"/>
              <a:gd name="T56" fmla="*/ 1037 w 285"/>
              <a:gd name="T57" fmla="*/ 1147 h 280"/>
              <a:gd name="T58" fmla="*/ 1014 w 285"/>
              <a:gd name="T59" fmla="*/ 1005 h 280"/>
              <a:gd name="T60" fmla="*/ 1170 w 285"/>
              <a:gd name="T61" fmla="*/ 1028 h 280"/>
              <a:gd name="T62" fmla="*/ 1096 w 285"/>
              <a:gd name="T63" fmla="*/ 895 h 280"/>
              <a:gd name="T64" fmla="*/ 1238 w 285"/>
              <a:gd name="T65" fmla="*/ 886 h 280"/>
              <a:gd name="T66" fmla="*/ 1156 w 285"/>
              <a:gd name="T67" fmla="*/ 767 h 280"/>
              <a:gd name="T68" fmla="*/ 1284 w 285"/>
              <a:gd name="T69" fmla="*/ 731 h 280"/>
              <a:gd name="T70" fmla="*/ 1170 w 285"/>
              <a:gd name="T71" fmla="*/ 640 h 280"/>
              <a:gd name="T72" fmla="*/ 1284 w 285"/>
              <a:gd name="T73" fmla="*/ 544 h 280"/>
              <a:gd name="T74" fmla="*/ 1142 w 285"/>
              <a:gd name="T75" fmla="*/ 498 h 280"/>
              <a:gd name="T76" fmla="*/ 1252 w 285"/>
              <a:gd name="T77" fmla="*/ 379 h 280"/>
              <a:gd name="T78" fmla="*/ 1096 w 285"/>
              <a:gd name="T79" fmla="*/ 356 h 280"/>
              <a:gd name="T80" fmla="*/ 1142 w 285"/>
              <a:gd name="T81" fmla="*/ 224 h 280"/>
              <a:gd name="T82" fmla="*/ 1014 w 285"/>
              <a:gd name="T83" fmla="*/ 247 h 280"/>
              <a:gd name="T84" fmla="*/ 1028 w 285"/>
              <a:gd name="T85" fmla="*/ 119 h 280"/>
              <a:gd name="T86" fmla="*/ 909 w 285"/>
              <a:gd name="T87" fmla="*/ 164 h 280"/>
              <a:gd name="T88" fmla="*/ 873 w 285"/>
              <a:gd name="T89" fmla="*/ 37 h 280"/>
              <a:gd name="T90" fmla="*/ 777 w 285"/>
              <a:gd name="T91" fmla="*/ 119 h 280"/>
              <a:gd name="T92" fmla="*/ 717 w 285"/>
              <a:gd name="T93" fmla="*/ 0 h 280"/>
              <a:gd name="T94" fmla="*/ 635 w 285"/>
              <a:gd name="T95" fmla="*/ 96 h 280"/>
              <a:gd name="T96" fmla="*/ 544 w 285"/>
              <a:gd name="T97" fmla="*/ 14 h 28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85"/>
              <a:gd name="T148" fmla="*/ 0 h 280"/>
              <a:gd name="T149" fmla="*/ 285 w 285"/>
              <a:gd name="T150" fmla="*/ 280 h 28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85" h="280">
                <a:moveTo>
                  <a:pt x="119" y="3"/>
                </a:moveTo>
                <a:lnTo>
                  <a:pt x="119" y="3"/>
                </a:lnTo>
                <a:lnTo>
                  <a:pt x="116" y="26"/>
                </a:lnTo>
                <a:lnTo>
                  <a:pt x="111" y="26"/>
                </a:lnTo>
                <a:lnTo>
                  <a:pt x="96" y="8"/>
                </a:lnTo>
                <a:lnTo>
                  <a:pt x="88" y="10"/>
                </a:lnTo>
                <a:lnTo>
                  <a:pt x="88" y="36"/>
                </a:lnTo>
                <a:lnTo>
                  <a:pt x="85" y="39"/>
                </a:lnTo>
                <a:lnTo>
                  <a:pt x="62" y="23"/>
                </a:lnTo>
                <a:lnTo>
                  <a:pt x="54" y="28"/>
                </a:lnTo>
                <a:lnTo>
                  <a:pt x="62" y="52"/>
                </a:lnTo>
                <a:lnTo>
                  <a:pt x="59" y="57"/>
                </a:lnTo>
                <a:lnTo>
                  <a:pt x="36" y="47"/>
                </a:lnTo>
                <a:lnTo>
                  <a:pt x="31" y="54"/>
                </a:lnTo>
                <a:lnTo>
                  <a:pt x="44" y="75"/>
                </a:lnTo>
                <a:lnTo>
                  <a:pt x="41" y="78"/>
                </a:lnTo>
                <a:lnTo>
                  <a:pt x="15" y="75"/>
                </a:lnTo>
                <a:lnTo>
                  <a:pt x="13" y="83"/>
                </a:lnTo>
                <a:lnTo>
                  <a:pt x="34" y="101"/>
                </a:lnTo>
                <a:lnTo>
                  <a:pt x="31" y="106"/>
                </a:lnTo>
                <a:lnTo>
                  <a:pt x="5" y="109"/>
                </a:lnTo>
                <a:lnTo>
                  <a:pt x="3" y="116"/>
                </a:lnTo>
                <a:lnTo>
                  <a:pt x="28" y="132"/>
                </a:lnTo>
                <a:lnTo>
                  <a:pt x="26" y="137"/>
                </a:lnTo>
                <a:lnTo>
                  <a:pt x="0" y="147"/>
                </a:lnTo>
                <a:lnTo>
                  <a:pt x="3" y="155"/>
                </a:lnTo>
                <a:lnTo>
                  <a:pt x="28" y="160"/>
                </a:lnTo>
                <a:lnTo>
                  <a:pt x="31" y="168"/>
                </a:lnTo>
                <a:lnTo>
                  <a:pt x="8" y="183"/>
                </a:lnTo>
                <a:lnTo>
                  <a:pt x="10" y="191"/>
                </a:lnTo>
                <a:lnTo>
                  <a:pt x="39" y="191"/>
                </a:lnTo>
                <a:lnTo>
                  <a:pt x="41" y="196"/>
                </a:lnTo>
                <a:lnTo>
                  <a:pt x="26" y="217"/>
                </a:lnTo>
                <a:lnTo>
                  <a:pt x="31" y="225"/>
                </a:lnTo>
                <a:lnTo>
                  <a:pt x="59" y="217"/>
                </a:lnTo>
                <a:lnTo>
                  <a:pt x="62" y="222"/>
                </a:lnTo>
                <a:lnTo>
                  <a:pt x="52" y="248"/>
                </a:lnTo>
                <a:lnTo>
                  <a:pt x="57" y="251"/>
                </a:lnTo>
                <a:lnTo>
                  <a:pt x="83" y="238"/>
                </a:lnTo>
                <a:lnTo>
                  <a:pt x="85" y="240"/>
                </a:lnTo>
                <a:lnTo>
                  <a:pt x="80" y="266"/>
                </a:lnTo>
                <a:lnTo>
                  <a:pt x="85" y="269"/>
                </a:lnTo>
                <a:lnTo>
                  <a:pt x="108" y="248"/>
                </a:lnTo>
                <a:lnTo>
                  <a:pt x="111" y="251"/>
                </a:lnTo>
                <a:lnTo>
                  <a:pt x="114" y="276"/>
                </a:lnTo>
                <a:lnTo>
                  <a:pt x="124" y="279"/>
                </a:lnTo>
                <a:lnTo>
                  <a:pt x="139" y="253"/>
                </a:lnTo>
                <a:lnTo>
                  <a:pt x="145" y="253"/>
                </a:lnTo>
                <a:lnTo>
                  <a:pt x="155" y="279"/>
                </a:lnTo>
                <a:lnTo>
                  <a:pt x="163" y="279"/>
                </a:lnTo>
                <a:lnTo>
                  <a:pt x="168" y="251"/>
                </a:lnTo>
                <a:lnTo>
                  <a:pt x="173" y="251"/>
                </a:lnTo>
                <a:lnTo>
                  <a:pt x="188" y="271"/>
                </a:lnTo>
                <a:lnTo>
                  <a:pt x="199" y="269"/>
                </a:lnTo>
                <a:lnTo>
                  <a:pt x="196" y="240"/>
                </a:lnTo>
                <a:lnTo>
                  <a:pt x="201" y="238"/>
                </a:lnTo>
                <a:lnTo>
                  <a:pt x="225" y="253"/>
                </a:lnTo>
                <a:lnTo>
                  <a:pt x="227" y="251"/>
                </a:lnTo>
                <a:lnTo>
                  <a:pt x="219" y="222"/>
                </a:lnTo>
                <a:lnTo>
                  <a:pt x="222" y="220"/>
                </a:lnTo>
                <a:lnTo>
                  <a:pt x="250" y="230"/>
                </a:lnTo>
                <a:lnTo>
                  <a:pt x="256" y="225"/>
                </a:lnTo>
                <a:lnTo>
                  <a:pt x="238" y="199"/>
                </a:lnTo>
                <a:lnTo>
                  <a:pt x="240" y="196"/>
                </a:lnTo>
                <a:lnTo>
                  <a:pt x="269" y="202"/>
                </a:lnTo>
                <a:lnTo>
                  <a:pt x="271" y="194"/>
                </a:lnTo>
                <a:lnTo>
                  <a:pt x="250" y="173"/>
                </a:lnTo>
                <a:lnTo>
                  <a:pt x="253" y="168"/>
                </a:lnTo>
                <a:lnTo>
                  <a:pt x="281" y="168"/>
                </a:lnTo>
                <a:lnTo>
                  <a:pt x="281" y="160"/>
                </a:lnTo>
                <a:lnTo>
                  <a:pt x="256" y="145"/>
                </a:lnTo>
                <a:lnTo>
                  <a:pt x="256" y="140"/>
                </a:lnTo>
                <a:lnTo>
                  <a:pt x="284" y="129"/>
                </a:lnTo>
                <a:lnTo>
                  <a:pt x="281" y="119"/>
                </a:lnTo>
                <a:lnTo>
                  <a:pt x="253" y="114"/>
                </a:lnTo>
                <a:lnTo>
                  <a:pt x="250" y="109"/>
                </a:lnTo>
                <a:lnTo>
                  <a:pt x="276" y="90"/>
                </a:lnTo>
                <a:lnTo>
                  <a:pt x="274" y="83"/>
                </a:lnTo>
                <a:lnTo>
                  <a:pt x="243" y="83"/>
                </a:lnTo>
                <a:lnTo>
                  <a:pt x="240" y="78"/>
                </a:lnTo>
                <a:lnTo>
                  <a:pt x="256" y="57"/>
                </a:lnTo>
                <a:lnTo>
                  <a:pt x="250" y="49"/>
                </a:lnTo>
                <a:lnTo>
                  <a:pt x="225" y="59"/>
                </a:lnTo>
                <a:lnTo>
                  <a:pt x="222" y="54"/>
                </a:lnTo>
                <a:lnTo>
                  <a:pt x="232" y="28"/>
                </a:lnTo>
                <a:lnTo>
                  <a:pt x="225" y="26"/>
                </a:lnTo>
                <a:lnTo>
                  <a:pt x="201" y="39"/>
                </a:lnTo>
                <a:lnTo>
                  <a:pt x="199" y="36"/>
                </a:lnTo>
                <a:lnTo>
                  <a:pt x="199" y="10"/>
                </a:lnTo>
                <a:lnTo>
                  <a:pt x="191" y="8"/>
                </a:lnTo>
                <a:lnTo>
                  <a:pt x="176" y="28"/>
                </a:lnTo>
                <a:lnTo>
                  <a:pt x="170" y="26"/>
                </a:lnTo>
                <a:lnTo>
                  <a:pt x="165" y="0"/>
                </a:lnTo>
                <a:lnTo>
                  <a:pt x="157" y="0"/>
                </a:lnTo>
                <a:lnTo>
                  <a:pt x="145" y="21"/>
                </a:lnTo>
                <a:lnTo>
                  <a:pt x="139" y="21"/>
                </a:lnTo>
                <a:lnTo>
                  <a:pt x="127" y="0"/>
                </a:lnTo>
                <a:lnTo>
                  <a:pt x="119" y="3"/>
                </a:lnTo>
              </a:path>
            </a:pathLst>
          </a:custGeom>
          <a:solidFill>
            <a:schemeClr val="tx2"/>
          </a:solidFill>
          <a:ln w="9525" cap="rnd" cmpd="sng">
            <a:solidFill>
              <a:schemeClr val="bg1"/>
            </a:solidFill>
            <a:prstDash val="solid"/>
            <a:round/>
            <a:headEnd type="none" w="sm" len="sm"/>
            <a:tailEnd type="none" w="sm" len="sm"/>
          </a:ln>
          <a:effectLst/>
        </p:spPr>
        <p:txBody>
          <a:bodyPr anchor="ctr" anchorCtr="0">
            <a:prstTxWarp prst="textNoShape">
              <a:avLst/>
            </a:prstTxWarp>
          </a:bodyPr>
          <a:lstStyle/>
          <a:p>
            <a:endParaRPr lang="en-GB" sz="1600" dirty="0">
              <a:solidFill>
                <a:srgbClr val="FFFFFF"/>
              </a:solidFill>
              <a:latin typeface="Garamond"/>
            </a:endParaRPr>
          </a:p>
        </p:txBody>
      </p:sp>
      <p:sp>
        <p:nvSpPr>
          <p:cNvPr id="41" name="Oval 17"/>
          <p:cNvSpPr>
            <a:spLocks noChangeArrowheads="1"/>
          </p:cNvSpPr>
          <p:nvPr/>
        </p:nvSpPr>
        <p:spPr bwMode="auto">
          <a:xfrm rot="214915">
            <a:off x="5290875" y="3153123"/>
            <a:ext cx="1110492" cy="1147296"/>
          </a:xfrm>
          <a:prstGeom prst="ellipse">
            <a:avLst/>
          </a:prstGeom>
          <a:solidFill>
            <a:srgbClr val="FFFFFF"/>
          </a:solidFill>
          <a:ln w="12700">
            <a:solidFill>
              <a:srgbClr val="FFFFFF"/>
            </a:solidFill>
            <a:round/>
            <a:headEnd/>
            <a:tailEnd/>
          </a:ln>
        </p:spPr>
        <p:txBody>
          <a:bodyPr wrap="none" anchor="ctr">
            <a:prstTxWarp prst="textNoShape">
              <a:avLst/>
            </a:prstTxWarp>
          </a:bodyPr>
          <a:lstStyle/>
          <a:p>
            <a:endParaRPr lang="en-GB" dirty="0">
              <a:latin typeface="Garamond"/>
            </a:endParaRPr>
          </a:p>
        </p:txBody>
      </p:sp>
      <p:sp>
        <p:nvSpPr>
          <p:cNvPr id="42" name="Oval 18"/>
          <p:cNvSpPr>
            <a:spLocks noChangeArrowheads="1"/>
          </p:cNvSpPr>
          <p:nvPr/>
        </p:nvSpPr>
        <p:spPr bwMode="auto">
          <a:xfrm rot="214915">
            <a:off x="5697004" y="3565413"/>
            <a:ext cx="303318" cy="321722"/>
          </a:xfrm>
          <a:prstGeom prst="ellipse">
            <a:avLst/>
          </a:prstGeom>
          <a:solidFill>
            <a:srgbClr val="4F81BD"/>
          </a:solidFill>
          <a:ln w="12700">
            <a:solidFill>
              <a:schemeClr val="accent1"/>
            </a:solidFill>
            <a:round/>
            <a:headEnd/>
            <a:tailEnd/>
          </a:ln>
        </p:spPr>
        <p:txBody>
          <a:bodyPr wrap="none" anchor="ctr">
            <a:prstTxWarp prst="textNoShape">
              <a:avLst/>
            </a:prstTxWarp>
          </a:bodyPr>
          <a:lstStyle/>
          <a:p>
            <a:endParaRPr lang="en-GB" dirty="0">
              <a:latin typeface="Garamond"/>
            </a:endParaRPr>
          </a:p>
        </p:txBody>
      </p:sp>
      <p:sp>
        <p:nvSpPr>
          <p:cNvPr id="43" name="Oval 19"/>
          <p:cNvSpPr>
            <a:spLocks noChangeArrowheads="1"/>
          </p:cNvSpPr>
          <p:nvPr/>
        </p:nvSpPr>
        <p:spPr bwMode="auto">
          <a:xfrm rot="214915">
            <a:off x="5817333" y="3692872"/>
            <a:ext cx="57656" cy="66472"/>
          </a:xfrm>
          <a:prstGeom prst="ellipse">
            <a:avLst/>
          </a:prstGeom>
          <a:solidFill>
            <a:srgbClr val="FFFFFF"/>
          </a:solidFill>
          <a:ln w="12700">
            <a:solidFill>
              <a:srgbClr val="4F81BD"/>
            </a:solidFill>
            <a:round/>
            <a:headEnd/>
            <a:tailEnd/>
          </a:ln>
        </p:spPr>
        <p:txBody>
          <a:bodyPr wrap="none" anchor="ctr">
            <a:prstTxWarp prst="textNoShape">
              <a:avLst/>
            </a:prstTxWarp>
          </a:bodyPr>
          <a:lstStyle/>
          <a:p>
            <a:endParaRPr lang="en-GB" dirty="0">
              <a:latin typeface="Garamond"/>
            </a:endParaRPr>
          </a:p>
        </p:txBody>
      </p:sp>
      <p:sp>
        <p:nvSpPr>
          <p:cNvPr id="44" name="Freeform 21"/>
          <p:cNvSpPr>
            <a:spLocks/>
          </p:cNvSpPr>
          <p:nvPr/>
        </p:nvSpPr>
        <p:spPr bwMode="auto">
          <a:xfrm>
            <a:off x="6168078" y="2000670"/>
            <a:ext cx="1270925" cy="1324109"/>
          </a:xfrm>
          <a:custGeom>
            <a:avLst/>
            <a:gdLst>
              <a:gd name="T0" fmla="*/ 420 w 222"/>
              <a:gd name="T1" fmla="*/ 9 h 218"/>
              <a:gd name="T2" fmla="*/ 393 w 222"/>
              <a:gd name="T3" fmla="*/ 91 h 218"/>
              <a:gd name="T4" fmla="*/ 311 w 222"/>
              <a:gd name="T5" fmla="*/ 37 h 218"/>
              <a:gd name="T6" fmla="*/ 301 w 222"/>
              <a:gd name="T7" fmla="*/ 137 h 218"/>
              <a:gd name="T8" fmla="*/ 192 w 222"/>
              <a:gd name="T9" fmla="*/ 101 h 218"/>
              <a:gd name="T10" fmla="*/ 210 w 222"/>
              <a:gd name="T11" fmla="*/ 201 h 218"/>
              <a:gd name="T12" fmla="*/ 110 w 222"/>
              <a:gd name="T13" fmla="*/ 192 h 218"/>
              <a:gd name="T14" fmla="*/ 146 w 222"/>
              <a:gd name="T15" fmla="*/ 274 h 218"/>
              <a:gd name="T16" fmla="*/ 46 w 222"/>
              <a:gd name="T17" fmla="*/ 292 h 218"/>
              <a:gd name="T18" fmla="*/ 110 w 222"/>
              <a:gd name="T19" fmla="*/ 375 h 218"/>
              <a:gd name="T20" fmla="*/ 9 w 222"/>
              <a:gd name="T21" fmla="*/ 411 h 218"/>
              <a:gd name="T22" fmla="*/ 91 w 222"/>
              <a:gd name="T23" fmla="*/ 484 h 218"/>
              <a:gd name="T24" fmla="*/ 9 w 222"/>
              <a:gd name="T25" fmla="*/ 553 h 218"/>
              <a:gd name="T26" fmla="*/ 110 w 222"/>
              <a:gd name="T27" fmla="*/ 599 h 218"/>
              <a:gd name="T28" fmla="*/ 37 w 222"/>
              <a:gd name="T29" fmla="*/ 681 h 218"/>
              <a:gd name="T30" fmla="*/ 146 w 222"/>
              <a:gd name="T31" fmla="*/ 699 h 218"/>
              <a:gd name="T32" fmla="*/ 110 w 222"/>
              <a:gd name="T33" fmla="*/ 800 h 218"/>
              <a:gd name="T34" fmla="*/ 219 w 222"/>
              <a:gd name="T35" fmla="*/ 790 h 218"/>
              <a:gd name="T36" fmla="*/ 201 w 222"/>
              <a:gd name="T37" fmla="*/ 891 h 218"/>
              <a:gd name="T38" fmla="*/ 301 w 222"/>
              <a:gd name="T39" fmla="*/ 854 h 218"/>
              <a:gd name="T40" fmla="*/ 301 w 222"/>
              <a:gd name="T41" fmla="*/ 955 h 218"/>
              <a:gd name="T42" fmla="*/ 393 w 222"/>
              <a:gd name="T43" fmla="*/ 891 h 218"/>
              <a:gd name="T44" fmla="*/ 438 w 222"/>
              <a:gd name="T45" fmla="*/ 991 h 218"/>
              <a:gd name="T46" fmla="*/ 516 w 222"/>
              <a:gd name="T47" fmla="*/ 900 h 218"/>
              <a:gd name="T48" fmla="*/ 580 w 222"/>
              <a:gd name="T49" fmla="*/ 991 h 218"/>
              <a:gd name="T50" fmla="*/ 617 w 222"/>
              <a:gd name="T51" fmla="*/ 891 h 218"/>
              <a:gd name="T52" fmla="*/ 708 w 222"/>
              <a:gd name="T53" fmla="*/ 955 h 218"/>
              <a:gd name="T54" fmla="*/ 717 w 222"/>
              <a:gd name="T55" fmla="*/ 845 h 218"/>
              <a:gd name="T56" fmla="*/ 808 w 222"/>
              <a:gd name="T57" fmla="*/ 891 h 218"/>
              <a:gd name="T58" fmla="*/ 790 w 222"/>
              <a:gd name="T59" fmla="*/ 781 h 218"/>
              <a:gd name="T60" fmla="*/ 909 w 222"/>
              <a:gd name="T61" fmla="*/ 800 h 218"/>
              <a:gd name="T62" fmla="*/ 854 w 222"/>
              <a:gd name="T63" fmla="*/ 699 h 218"/>
              <a:gd name="T64" fmla="*/ 964 w 222"/>
              <a:gd name="T65" fmla="*/ 690 h 218"/>
              <a:gd name="T66" fmla="*/ 900 w 222"/>
              <a:gd name="T67" fmla="*/ 599 h 218"/>
              <a:gd name="T68" fmla="*/ 1000 w 222"/>
              <a:gd name="T69" fmla="*/ 571 h 218"/>
              <a:gd name="T70" fmla="*/ 909 w 222"/>
              <a:gd name="T71" fmla="*/ 498 h 218"/>
              <a:gd name="T72" fmla="*/ 1000 w 222"/>
              <a:gd name="T73" fmla="*/ 420 h 218"/>
              <a:gd name="T74" fmla="*/ 891 w 222"/>
              <a:gd name="T75" fmla="*/ 384 h 218"/>
              <a:gd name="T76" fmla="*/ 973 w 222"/>
              <a:gd name="T77" fmla="*/ 292 h 218"/>
              <a:gd name="T78" fmla="*/ 854 w 222"/>
              <a:gd name="T79" fmla="*/ 274 h 218"/>
              <a:gd name="T80" fmla="*/ 891 w 222"/>
              <a:gd name="T81" fmla="*/ 174 h 218"/>
              <a:gd name="T82" fmla="*/ 790 w 222"/>
              <a:gd name="T83" fmla="*/ 192 h 218"/>
              <a:gd name="T84" fmla="*/ 799 w 222"/>
              <a:gd name="T85" fmla="*/ 91 h 218"/>
              <a:gd name="T86" fmla="*/ 708 w 222"/>
              <a:gd name="T87" fmla="*/ 128 h 218"/>
              <a:gd name="T88" fmla="*/ 681 w 222"/>
              <a:gd name="T89" fmla="*/ 27 h 218"/>
              <a:gd name="T90" fmla="*/ 607 w 222"/>
              <a:gd name="T91" fmla="*/ 91 h 218"/>
              <a:gd name="T92" fmla="*/ 562 w 222"/>
              <a:gd name="T93" fmla="*/ 0 h 218"/>
              <a:gd name="T94" fmla="*/ 493 w 222"/>
              <a:gd name="T95" fmla="*/ 73 h 218"/>
              <a:gd name="T96" fmla="*/ 420 w 222"/>
              <a:gd name="T97" fmla="*/ 9 h 21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22"/>
              <a:gd name="T148" fmla="*/ 0 h 218"/>
              <a:gd name="T149" fmla="*/ 222 w 222"/>
              <a:gd name="T150" fmla="*/ 218 h 21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22" h="218">
                <a:moveTo>
                  <a:pt x="92" y="2"/>
                </a:moveTo>
                <a:lnTo>
                  <a:pt x="92" y="2"/>
                </a:lnTo>
                <a:lnTo>
                  <a:pt x="90" y="20"/>
                </a:lnTo>
                <a:lnTo>
                  <a:pt x="86" y="20"/>
                </a:lnTo>
                <a:lnTo>
                  <a:pt x="74" y="6"/>
                </a:lnTo>
                <a:lnTo>
                  <a:pt x="68" y="8"/>
                </a:lnTo>
                <a:lnTo>
                  <a:pt x="68" y="28"/>
                </a:lnTo>
                <a:lnTo>
                  <a:pt x="66" y="30"/>
                </a:lnTo>
                <a:lnTo>
                  <a:pt x="48" y="18"/>
                </a:lnTo>
                <a:lnTo>
                  <a:pt x="42" y="22"/>
                </a:lnTo>
                <a:lnTo>
                  <a:pt x="48" y="40"/>
                </a:lnTo>
                <a:lnTo>
                  <a:pt x="46" y="44"/>
                </a:lnTo>
                <a:lnTo>
                  <a:pt x="28" y="36"/>
                </a:lnTo>
                <a:lnTo>
                  <a:pt x="24" y="42"/>
                </a:lnTo>
                <a:lnTo>
                  <a:pt x="34" y="58"/>
                </a:lnTo>
                <a:lnTo>
                  <a:pt x="32" y="60"/>
                </a:lnTo>
                <a:lnTo>
                  <a:pt x="12" y="58"/>
                </a:lnTo>
                <a:lnTo>
                  <a:pt x="10" y="64"/>
                </a:lnTo>
                <a:lnTo>
                  <a:pt x="26" y="78"/>
                </a:lnTo>
                <a:lnTo>
                  <a:pt x="24" y="82"/>
                </a:lnTo>
                <a:lnTo>
                  <a:pt x="4" y="84"/>
                </a:lnTo>
                <a:lnTo>
                  <a:pt x="2" y="90"/>
                </a:lnTo>
                <a:lnTo>
                  <a:pt x="22" y="102"/>
                </a:lnTo>
                <a:lnTo>
                  <a:pt x="20" y="106"/>
                </a:lnTo>
                <a:lnTo>
                  <a:pt x="0" y="115"/>
                </a:lnTo>
                <a:lnTo>
                  <a:pt x="2" y="121"/>
                </a:lnTo>
                <a:lnTo>
                  <a:pt x="22" y="125"/>
                </a:lnTo>
                <a:lnTo>
                  <a:pt x="24" y="131"/>
                </a:lnTo>
                <a:lnTo>
                  <a:pt x="6" y="143"/>
                </a:lnTo>
                <a:lnTo>
                  <a:pt x="8" y="149"/>
                </a:lnTo>
                <a:lnTo>
                  <a:pt x="30" y="149"/>
                </a:lnTo>
                <a:lnTo>
                  <a:pt x="32" y="153"/>
                </a:lnTo>
                <a:lnTo>
                  <a:pt x="20" y="169"/>
                </a:lnTo>
                <a:lnTo>
                  <a:pt x="24" y="175"/>
                </a:lnTo>
                <a:lnTo>
                  <a:pt x="46" y="169"/>
                </a:lnTo>
                <a:lnTo>
                  <a:pt x="48" y="173"/>
                </a:lnTo>
                <a:lnTo>
                  <a:pt x="40" y="193"/>
                </a:lnTo>
                <a:lnTo>
                  <a:pt x="44" y="195"/>
                </a:lnTo>
                <a:lnTo>
                  <a:pt x="64" y="185"/>
                </a:lnTo>
                <a:lnTo>
                  <a:pt x="66" y="187"/>
                </a:lnTo>
                <a:lnTo>
                  <a:pt x="62" y="207"/>
                </a:lnTo>
                <a:lnTo>
                  <a:pt x="66" y="209"/>
                </a:lnTo>
                <a:lnTo>
                  <a:pt x="84" y="193"/>
                </a:lnTo>
                <a:lnTo>
                  <a:pt x="86" y="195"/>
                </a:lnTo>
                <a:lnTo>
                  <a:pt x="88" y="215"/>
                </a:lnTo>
                <a:lnTo>
                  <a:pt x="96" y="217"/>
                </a:lnTo>
                <a:lnTo>
                  <a:pt x="108" y="197"/>
                </a:lnTo>
                <a:lnTo>
                  <a:pt x="113" y="197"/>
                </a:lnTo>
                <a:lnTo>
                  <a:pt x="121" y="217"/>
                </a:lnTo>
                <a:lnTo>
                  <a:pt x="127" y="217"/>
                </a:lnTo>
                <a:lnTo>
                  <a:pt x="131" y="195"/>
                </a:lnTo>
                <a:lnTo>
                  <a:pt x="135" y="195"/>
                </a:lnTo>
                <a:lnTo>
                  <a:pt x="147" y="211"/>
                </a:lnTo>
                <a:lnTo>
                  <a:pt x="155" y="209"/>
                </a:lnTo>
                <a:lnTo>
                  <a:pt x="153" y="187"/>
                </a:lnTo>
                <a:lnTo>
                  <a:pt x="157" y="185"/>
                </a:lnTo>
                <a:lnTo>
                  <a:pt x="175" y="197"/>
                </a:lnTo>
                <a:lnTo>
                  <a:pt x="177" y="195"/>
                </a:lnTo>
                <a:lnTo>
                  <a:pt x="171" y="173"/>
                </a:lnTo>
                <a:lnTo>
                  <a:pt x="173" y="171"/>
                </a:lnTo>
                <a:lnTo>
                  <a:pt x="195" y="179"/>
                </a:lnTo>
                <a:lnTo>
                  <a:pt x="199" y="175"/>
                </a:lnTo>
                <a:lnTo>
                  <a:pt x="185" y="155"/>
                </a:lnTo>
                <a:lnTo>
                  <a:pt x="187" y="153"/>
                </a:lnTo>
                <a:lnTo>
                  <a:pt x="209" y="157"/>
                </a:lnTo>
                <a:lnTo>
                  <a:pt x="211" y="151"/>
                </a:lnTo>
                <a:lnTo>
                  <a:pt x="195" y="135"/>
                </a:lnTo>
                <a:lnTo>
                  <a:pt x="197" y="131"/>
                </a:lnTo>
                <a:lnTo>
                  <a:pt x="219" y="131"/>
                </a:lnTo>
                <a:lnTo>
                  <a:pt x="219" y="125"/>
                </a:lnTo>
                <a:lnTo>
                  <a:pt x="199" y="113"/>
                </a:lnTo>
                <a:lnTo>
                  <a:pt x="199" y="109"/>
                </a:lnTo>
                <a:lnTo>
                  <a:pt x="221" y="100"/>
                </a:lnTo>
                <a:lnTo>
                  <a:pt x="219" y="92"/>
                </a:lnTo>
                <a:lnTo>
                  <a:pt x="197" y="88"/>
                </a:lnTo>
                <a:lnTo>
                  <a:pt x="195" y="84"/>
                </a:lnTo>
                <a:lnTo>
                  <a:pt x="215" y="70"/>
                </a:lnTo>
                <a:lnTo>
                  <a:pt x="213" y="64"/>
                </a:lnTo>
                <a:lnTo>
                  <a:pt x="189" y="64"/>
                </a:lnTo>
                <a:lnTo>
                  <a:pt x="187" y="60"/>
                </a:lnTo>
                <a:lnTo>
                  <a:pt x="199" y="44"/>
                </a:lnTo>
                <a:lnTo>
                  <a:pt x="195" y="38"/>
                </a:lnTo>
                <a:lnTo>
                  <a:pt x="175" y="46"/>
                </a:lnTo>
                <a:lnTo>
                  <a:pt x="173" y="42"/>
                </a:lnTo>
                <a:lnTo>
                  <a:pt x="181" y="22"/>
                </a:lnTo>
                <a:lnTo>
                  <a:pt x="175" y="20"/>
                </a:lnTo>
                <a:lnTo>
                  <a:pt x="157" y="30"/>
                </a:lnTo>
                <a:lnTo>
                  <a:pt x="155" y="28"/>
                </a:lnTo>
                <a:lnTo>
                  <a:pt x="155" y="8"/>
                </a:lnTo>
                <a:lnTo>
                  <a:pt x="149" y="6"/>
                </a:lnTo>
                <a:lnTo>
                  <a:pt x="137" y="22"/>
                </a:lnTo>
                <a:lnTo>
                  <a:pt x="133" y="20"/>
                </a:lnTo>
                <a:lnTo>
                  <a:pt x="129" y="0"/>
                </a:lnTo>
                <a:lnTo>
                  <a:pt x="123" y="0"/>
                </a:lnTo>
                <a:lnTo>
                  <a:pt x="113" y="16"/>
                </a:lnTo>
                <a:lnTo>
                  <a:pt x="108" y="16"/>
                </a:lnTo>
                <a:lnTo>
                  <a:pt x="98" y="0"/>
                </a:lnTo>
                <a:lnTo>
                  <a:pt x="92" y="2"/>
                </a:lnTo>
              </a:path>
            </a:pathLst>
          </a:custGeom>
          <a:solidFill>
            <a:schemeClr val="tx2"/>
          </a:solidFill>
          <a:ln w="9525" cap="rnd" cmpd="sng">
            <a:solidFill>
              <a:schemeClr val="bg1"/>
            </a:solidFill>
            <a:prstDash val="solid"/>
            <a:round/>
            <a:headEnd type="none" w="sm" len="sm"/>
            <a:tailEnd type="none" w="sm" len="sm"/>
          </a:ln>
          <a:effectLst/>
        </p:spPr>
        <p:txBody>
          <a:bodyPr anchor="ctr" anchorCtr="0">
            <a:prstTxWarp prst="textNoShape">
              <a:avLst/>
            </a:prstTxWarp>
          </a:bodyPr>
          <a:lstStyle/>
          <a:p>
            <a:endParaRPr lang="en-GB" sz="1600" dirty="0">
              <a:solidFill>
                <a:srgbClr val="FFFFFF"/>
              </a:solidFill>
              <a:latin typeface="Garamond"/>
            </a:endParaRPr>
          </a:p>
        </p:txBody>
      </p:sp>
      <p:sp>
        <p:nvSpPr>
          <p:cNvPr id="45" name="Oval 22"/>
          <p:cNvSpPr>
            <a:spLocks noChangeArrowheads="1"/>
          </p:cNvSpPr>
          <p:nvPr/>
        </p:nvSpPr>
        <p:spPr bwMode="auto">
          <a:xfrm>
            <a:off x="6373632" y="2218696"/>
            <a:ext cx="853551" cy="881411"/>
          </a:xfrm>
          <a:prstGeom prst="ellipse">
            <a:avLst/>
          </a:prstGeom>
          <a:solidFill>
            <a:srgbClr val="FFFFFF"/>
          </a:solidFill>
          <a:ln w="12700">
            <a:solidFill>
              <a:srgbClr val="FFFFFF"/>
            </a:solidFill>
            <a:round/>
            <a:headEnd/>
            <a:tailEnd/>
          </a:ln>
        </p:spPr>
        <p:txBody>
          <a:bodyPr wrap="none" anchor="ctr">
            <a:prstTxWarp prst="textNoShape">
              <a:avLst/>
            </a:prstTxWarp>
          </a:bodyPr>
          <a:lstStyle/>
          <a:p>
            <a:endParaRPr lang="en-GB" dirty="0">
              <a:latin typeface="Garamond"/>
            </a:endParaRPr>
          </a:p>
        </p:txBody>
      </p:sp>
      <p:sp>
        <p:nvSpPr>
          <p:cNvPr id="46" name="Oval 23"/>
          <p:cNvSpPr>
            <a:spLocks noChangeArrowheads="1"/>
          </p:cNvSpPr>
          <p:nvPr/>
        </p:nvSpPr>
        <p:spPr bwMode="auto">
          <a:xfrm>
            <a:off x="6689483" y="2541747"/>
            <a:ext cx="228114" cy="236638"/>
          </a:xfrm>
          <a:prstGeom prst="ellipse">
            <a:avLst/>
          </a:prstGeom>
          <a:solidFill>
            <a:srgbClr val="4F81BD"/>
          </a:solidFill>
          <a:ln w="12700">
            <a:solidFill>
              <a:schemeClr val="accent1"/>
            </a:solidFill>
            <a:round/>
            <a:headEnd/>
            <a:tailEnd/>
          </a:ln>
        </p:spPr>
        <p:txBody>
          <a:bodyPr wrap="none" anchor="ctr">
            <a:prstTxWarp prst="textNoShape">
              <a:avLst/>
            </a:prstTxWarp>
          </a:bodyPr>
          <a:lstStyle/>
          <a:p>
            <a:endParaRPr lang="en-GB" dirty="0">
              <a:latin typeface="Garamond"/>
            </a:endParaRPr>
          </a:p>
        </p:txBody>
      </p:sp>
      <p:sp>
        <p:nvSpPr>
          <p:cNvPr id="47" name="Oval 24"/>
          <p:cNvSpPr>
            <a:spLocks noChangeArrowheads="1"/>
          </p:cNvSpPr>
          <p:nvPr/>
        </p:nvSpPr>
        <p:spPr bwMode="auto">
          <a:xfrm>
            <a:off x="6780980" y="2638796"/>
            <a:ext cx="40108" cy="42542"/>
          </a:xfrm>
          <a:prstGeom prst="ellipse">
            <a:avLst/>
          </a:prstGeom>
          <a:solidFill>
            <a:srgbClr val="FFFFFF"/>
          </a:solidFill>
          <a:ln w="12700">
            <a:solidFill>
              <a:srgbClr val="4F81BD"/>
            </a:solidFill>
            <a:round/>
            <a:headEnd/>
            <a:tailEnd/>
          </a:ln>
        </p:spPr>
        <p:txBody>
          <a:bodyPr wrap="none" anchor="ctr">
            <a:prstTxWarp prst="textNoShape">
              <a:avLst/>
            </a:prstTxWarp>
          </a:bodyPr>
          <a:lstStyle/>
          <a:p>
            <a:endParaRPr lang="en-GB" dirty="0">
              <a:latin typeface="Garamond"/>
            </a:endParaRPr>
          </a:p>
        </p:txBody>
      </p:sp>
      <p:sp>
        <p:nvSpPr>
          <p:cNvPr id="48" name="Title 3"/>
          <p:cNvSpPr txBox="1">
            <a:spLocks/>
          </p:cNvSpPr>
          <p:nvPr>
            <p:custDataLst>
              <p:tags r:id="rId3"/>
            </p:custDataLst>
          </p:nvPr>
        </p:nvSpPr>
        <p:spPr>
          <a:xfrm>
            <a:off x="754204" y="5545148"/>
            <a:ext cx="6891495" cy="822961"/>
          </a:xfrm>
          <a:prstGeom prst="rect">
            <a:avLst/>
          </a:prstGeom>
        </p:spPr>
        <p:txBody>
          <a:bodyPr vert="horz" lIns="80133" tIns="40067" rIns="80133" bIns="40067" rtlCol="0" anchor="b" anchorCtr="0">
            <a:normAutofit/>
          </a:bodyPr>
          <a:lstStyle>
            <a:lvl1pPr algn="l" defTabSz="914239" rtl="0" eaLnBrk="1" latinLnBrk="0" hangingPunct="1">
              <a:spcBef>
                <a:spcPct val="0"/>
              </a:spcBef>
              <a:buNone/>
              <a:defRPr sz="2800" kern="1200">
                <a:solidFill>
                  <a:schemeClr val="accent1"/>
                </a:solidFill>
                <a:latin typeface="Garamond" pitchFamily="18" charset="0"/>
                <a:ea typeface="+mj-ea"/>
                <a:cs typeface="+mj-cs"/>
              </a:defRPr>
            </a:lvl1pPr>
          </a:lstStyle>
          <a:p>
            <a:r>
              <a:rPr lang="en-GB" sz="1200" dirty="0">
                <a:solidFill>
                  <a:schemeClr val="tx2"/>
                </a:solidFill>
              </a:rPr>
              <a:t>Footnotes and assumptions: list</a:t>
            </a:r>
          </a:p>
          <a:p>
            <a:r>
              <a:rPr lang="en-GB" sz="1200" dirty="0">
                <a:solidFill>
                  <a:schemeClr val="tx2"/>
                </a:solidFill>
              </a:rPr>
              <a:t>Source: List sources</a:t>
            </a:r>
          </a:p>
        </p:txBody>
      </p:sp>
      <p:sp>
        <p:nvSpPr>
          <p:cNvPr id="49" name="Rectangle 4"/>
          <p:cNvSpPr>
            <a:spLocks noGrp="1" noChangeArrowheads="1"/>
          </p:cNvSpPr>
          <p:nvPr>
            <p:ph type="title"/>
            <p:custDataLst>
              <p:tags r:id="rId4"/>
            </p:custDataLst>
          </p:nvPr>
        </p:nvSpPr>
        <p:spPr/>
        <p:txBody>
          <a:bodyPr/>
          <a:lstStyle/>
          <a:p>
            <a:r>
              <a:rPr lang="en-GB" dirty="0" smtClean="0"/>
              <a:t>Message title – </a:t>
            </a:r>
            <a:r>
              <a:rPr lang="en-US" dirty="0" smtClean="0"/>
              <a:t>why are you showing it? cogs</a:t>
            </a:r>
            <a:endParaRPr lang="en-GB" dirty="0"/>
          </a:p>
        </p:txBody>
      </p:sp>
      <p:sp>
        <p:nvSpPr>
          <p:cNvPr id="5" name="Footer Placeholder 4"/>
          <p:cNvSpPr>
            <a:spLocks noGrp="1"/>
          </p:cNvSpPr>
          <p:nvPr>
            <p:ph type="ftr" sz="quarter" idx="3"/>
          </p:nvPr>
        </p:nvSpPr>
        <p:spPr/>
        <p:txBody>
          <a:bodyPr/>
          <a:lstStyle/>
          <a:p>
            <a:r>
              <a:rPr lang="en-US" dirty="0" smtClean="0"/>
              <a:t>neil young |neil@ogcommunicationdesign.com |www.ogcommunicationdesign.com</a:t>
            </a:r>
            <a:endParaRPr lang="en-US" dirty="0"/>
          </a:p>
        </p:txBody>
      </p:sp>
      <p:sp>
        <p:nvSpPr>
          <p:cNvPr id="51" name="Slide Number Placeholder 1"/>
          <p:cNvSpPr>
            <a:spLocks noGrp="1"/>
          </p:cNvSpPr>
          <p:nvPr>
            <p:ph type="sldNum" sz="quarter" idx="4"/>
            <p:custDataLst>
              <p:tags r:id="rId5"/>
            </p:custDataLst>
          </p:nvPr>
        </p:nvSpPr>
        <p:spPr/>
        <p:txBody>
          <a:bodyPr/>
          <a:lstStyle/>
          <a:p>
            <a:fld id="{9EA32989-03B0-4860-BCBF-38A6D1811E33}" type="slidenum">
              <a:rPr lang="en-GB" smtClean="0"/>
              <a:pPr/>
              <a:t>21</a:t>
            </a:fld>
            <a:endParaRPr lang="en-GB" dirty="0"/>
          </a:p>
        </p:txBody>
      </p:sp>
      <p:sp>
        <p:nvSpPr>
          <p:cNvPr id="25" name="TextBox 24"/>
          <p:cNvSpPr txBox="1"/>
          <p:nvPr>
            <p:custDataLst>
              <p:tags r:id="rId6"/>
            </p:custDataLst>
          </p:nvPr>
        </p:nvSpPr>
        <p:spPr>
          <a:xfrm>
            <a:off x="755338" y="1481982"/>
            <a:ext cx="7606753" cy="362896"/>
          </a:xfrm>
          <a:prstGeom prst="rect">
            <a:avLst/>
          </a:prstGeom>
          <a:noFill/>
        </p:spPr>
        <p:txBody>
          <a:bodyPr wrap="square" lIns="80147" tIns="40074" rIns="80147" bIns="40074" rtlCol="0">
            <a:spAutoFit/>
          </a:bodyPr>
          <a:lstStyle/>
          <a:p>
            <a:r>
              <a:rPr lang="en-ZW" dirty="0">
                <a:latin typeface="Garamond" pitchFamily="18" charset="0"/>
              </a:rPr>
              <a:t>Title – what are you showing on this page?</a:t>
            </a:r>
          </a:p>
        </p:txBody>
      </p:sp>
    </p:spTree>
    <p:extLst>
      <p:ext uri="{BB962C8B-B14F-4D97-AF65-F5344CB8AC3E}">
        <p14:creationId xmlns:p14="http://schemas.microsoft.com/office/powerpoint/2010/main" val="127169332"/>
      </p:ext>
    </p:extLst>
  </p:cSld>
  <p:clrMapOvr>
    <a:masterClrMapping/>
  </p:clrMapOvr>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0428702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85" name="think-cell Slide" r:id="rId8" imgW="6350000" imgH="6350000" progId="TCLayout.ActiveDocument.1">
                  <p:embed/>
                </p:oleObj>
              </mc:Choice>
              <mc:Fallback>
                <p:oleObj name="think-cell Slide" r:id="rId8" imgW="6350000" imgH="6350000" progId="TCLayout.ActiveDocument.1">
                  <p:embed/>
                  <p:pic>
                    <p:nvPicPr>
                      <p:cNvPr id="0" name="Picture 10"/>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 name="Oval 3"/>
          <p:cNvSpPr>
            <a:spLocks noChangeArrowheads="1"/>
          </p:cNvSpPr>
          <p:nvPr/>
        </p:nvSpPr>
        <p:spPr bwMode="auto">
          <a:xfrm rot="20947375">
            <a:off x="2388689" y="2765392"/>
            <a:ext cx="2046369" cy="2045182"/>
          </a:xfrm>
          <a:prstGeom prst="ellipse">
            <a:avLst/>
          </a:prstGeom>
          <a:solidFill>
            <a:srgbClr val="D7B98E"/>
          </a:solidFill>
          <a:ln w="12700">
            <a:solidFill>
              <a:schemeClr val="tx1"/>
            </a:solidFill>
            <a:round/>
            <a:headEnd/>
            <a:tailEnd/>
          </a:ln>
        </p:spPr>
        <p:txBody>
          <a:bodyPr wrap="none" lIns="36000" tIns="36000" rIns="36000" bIns="36000" anchor="ctr">
            <a:prstTxWarp prst="textNoShape">
              <a:avLst/>
            </a:prstTxWarp>
          </a:bodyPr>
          <a:lstStyle/>
          <a:p>
            <a:endParaRPr lang="en-GB" dirty="0">
              <a:solidFill>
                <a:srgbClr val="FFFFFF"/>
              </a:solidFill>
              <a:latin typeface="Garamond"/>
            </a:endParaRPr>
          </a:p>
        </p:txBody>
      </p:sp>
      <p:sp>
        <p:nvSpPr>
          <p:cNvPr id="27" name="Freeform 4"/>
          <p:cNvSpPr>
            <a:spLocks/>
          </p:cNvSpPr>
          <p:nvPr/>
        </p:nvSpPr>
        <p:spPr bwMode="auto">
          <a:xfrm rot="20947375">
            <a:off x="3508321" y="4782634"/>
            <a:ext cx="230636" cy="208150"/>
          </a:xfrm>
          <a:custGeom>
            <a:avLst/>
            <a:gdLst>
              <a:gd name="T0" fmla="*/ 0 w 165"/>
              <a:gd name="T1" fmla="*/ 0 h 149"/>
              <a:gd name="T2" fmla="*/ 19 w 165"/>
              <a:gd name="T3" fmla="*/ 149 h 149"/>
              <a:gd name="T4" fmla="*/ 142 w 165"/>
              <a:gd name="T5" fmla="*/ 149 h 149"/>
              <a:gd name="T6" fmla="*/ 165 w 165"/>
              <a:gd name="T7" fmla="*/ 0 h 149"/>
              <a:gd name="T8" fmla="*/ 0 60000 65536"/>
              <a:gd name="T9" fmla="*/ 0 60000 65536"/>
              <a:gd name="T10" fmla="*/ 0 60000 65536"/>
              <a:gd name="T11" fmla="*/ 0 60000 65536"/>
              <a:gd name="T12" fmla="*/ 0 w 165"/>
              <a:gd name="T13" fmla="*/ 0 h 149"/>
              <a:gd name="T14" fmla="*/ 165 w 165"/>
              <a:gd name="T15" fmla="*/ 149 h 149"/>
            </a:gdLst>
            <a:ahLst/>
            <a:cxnLst>
              <a:cxn ang="T8">
                <a:pos x="T0" y="T1"/>
              </a:cxn>
              <a:cxn ang="T9">
                <a:pos x="T2" y="T3"/>
              </a:cxn>
              <a:cxn ang="T10">
                <a:pos x="T4" y="T5"/>
              </a:cxn>
              <a:cxn ang="T11">
                <a:pos x="T6" y="T7"/>
              </a:cxn>
            </a:cxnLst>
            <a:rect l="T12" t="T13" r="T14" b="T15"/>
            <a:pathLst>
              <a:path w="165" h="149">
                <a:moveTo>
                  <a:pt x="0" y="0"/>
                </a:moveTo>
                <a:lnTo>
                  <a:pt x="19" y="149"/>
                </a:lnTo>
                <a:lnTo>
                  <a:pt x="142" y="149"/>
                </a:lnTo>
                <a:lnTo>
                  <a:pt x="165" y="0"/>
                </a:lnTo>
              </a:path>
            </a:pathLst>
          </a:custGeom>
          <a:solidFill>
            <a:schemeClr val="tx2"/>
          </a:solidFill>
          <a:ln w="9525" cap="rnd" cmpd="sng">
            <a:solidFill>
              <a:schemeClr val="bg1"/>
            </a:solidFill>
            <a:prstDash val="solid"/>
            <a:round/>
            <a:headEnd type="none" w="sm" len="sm"/>
            <a:tailEnd type="none" w="sm" len="sm"/>
          </a:ln>
          <a:effectLst/>
        </p:spPr>
        <p:txBody>
          <a:bodyPr anchor="ctr" anchorCtr="0">
            <a:prstTxWarp prst="textNoShape">
              <a:avLst/>
            </a:prstTxWarp>
          </a:bodyPr>
          <a:lstStyle/>
          <a:p>
            <a:endParaRPr lang="en-GB" sz="1600" dirty="0">
              <a:solidFill>
                <a:srgbClr val="FFFFFF"/>
              </a:solidFill>
              <a:latin typeface="Garamond"/>
            </a:endParaRPr>
          </a:p>
        </p:txBody>
      </p:sp>
      <p:sp>
        <p:nvSpPr>
          <p:cNvPr id="33" name="Freeform 5"/>
          <p:cNvSpPr>
            <a:spLocks/>
          </p:cNvSpPr>
          <p:nvPr/>
        </p:nvSpPr>
        <p:spPr bwMode="auto">
          <a:xfrm rot="20947375">
            <a:off x="3084790" y="2585181"/>
            <a:ext cx="230636" cy="212341"/>
          </a:xfrm>
          <a:custGeom>
            <a:avLst/>
            <a:gdLst>
              <a:gd name="T0" fmla="*/ 165 w 165"/>
              <a:gd name="T1" fmla="*/ 152 h 152"/>
              <a:gd name="T2" fmla="*/ 150 w 165"/>
              <a:gd name="T3" fmla="*/ 0 h 152"/>
              <a:gd name="T4" fmla="*/ 13 w 165"/>
              <a:gd name="T5" fmla="*/ 0 h 152"/>
              <a:gd name="T6" fmla="*/ 0 w 165"/>
              <a:gd name="T7" fmla="*/ 152 h 152"/>
              <a:gd name="T8" fmla="*/ 0 60000 65536"/>
              <a:gd name="T9" fmla="*/ 0 60000 65536"/>
              <a:gd name="T10" fmla="*/ 0 60000 65536"/>
              <a:gd name="T11" fmla="*/ 0 60000 65536"/>
              <a:gd name="T12" fmla="*/ 0 w 165"/>
              <a:gd name="T13" fmla="*/ 0 h 152"/>
              <a:gd name="T14" fmla="*/ 165 w 165"/>
              <a:gd name="T15" fmla="*/ 152 h 152"/>
            </a:gdLst>
            <a:ahLst/>
            <a:cxnLst>
              <a:cxn ang="T8">
                <a:pos x="T0" y="T1"/>
              </a:cxn>
              <a:cxn ang="T9">
                <a:pos x="T2" y="T3"/>
              </a:cxn>
              <a:cxn ang="T10">
                <a:pos x="T4" y="T5"/>
              </a:cxn>
              <a:cxn ang="T11">
                <a:pos x="T6" y="T7"/>
              </a:cxn>
            </a:cxnLst>
            <a:rect l="T12" t="T13" r="T14" b="T15"/>
            <a:pathLst>
              <a:path w="165" h="152">
                <a:moveTo>
                  <a:pt x="165" y="152"/>
                </a:moveTo>
                <a:lnTo>
                  <a:pt x="150" y="0"/>
                </a:lnTo>
                <a:lnTo>
                  <a:pt x="13" y="0"/>
                </a:lnTo>
                <a:lnTo>
                  <a:pt x="0" y="152"/>
                </a:lnTo>
              </a:path>
            </a:pathLst>
          </a:custGeom>
          <a:solidFill>
            <a:schemeClr val="tx2"/>
          </a:solidFill>
          <a:ln w="9525" cap="rnd" cmpd="sng">
            <a:solidFill>
              <a:schemeClr val="bg1"/>
            </a:solidFill>
            <a:prstDash val="solid"/>
            <a:round/>
            <a:headEnd type="none" w="sm" len="sm"/>
            <a:tailEnd type="none" w="sm" len="sm"/>
          </a:ln>
          <a:effectLst/>
        </p:spPr>
        <p:txBody>
          <a:bodyPr anchor="ctr" anchorCtr="0">
            <a:prstTxWarp prst="textNoShape">
              <a:avLst/>
            </a:prstTxWarp>
          </a:bodyPr>
          <a:lstStyle/>
          <a:p>
            <a:endParaRPr lang="en-GB" sz="1600" dirty="0">
              <a:solidFill>
                <a:srgbClr val="FFFFFF"/>
              </a:solidFill>
              <a:latin typeface="Garamond"/>
            </a:endParaRPr>
          </a:p>
        </p:txBody>
      </p:sp>
      <p:sp>
        <p:nvSpPr>
          <p:cNvPr id="34" name="Freeform 6"/>
          <p:cNvSpPr>
            <a:spLocks/>
          </p:cNvSpPr>
          <p:nvPr/>
        </p:nvSpPr>
        <p:spPr bwMode="auto">
          <a:xfrm rot="2123672">
            <a:off x="2647281" y="4595438"/>
            <a:ext cx="230636" cy="208150"/>
          </a:xfrm>
          <a:custGeom>
            <a:avLst/>
            <a:gdLst>
              <a:gd name="T0" fmla="*/ 0 w 165"/>
              <a:gd name="T1" fmla="*/ 0 h 149"/>
              <a:gd name="T2" fmla="*/ 19 w 165"/>
              <a:gd name="T3" fmla="*/ 149 h 149"/>
              <a:gd name="T4" fmla="*/ 142 w 165"/>
              <a:gd name="T5" fmla="*/ 149 h 149"/>
              <a:gd name="T6" fmla="*/ 165 w 165"/>
              <a:gd name="T7" fmla="*/ 0 h 149"/>
              <a:gd name="T8" fmla="*/ 0 60000 65536"/>
              <a:gd name="T9" fmla="*/ 0 60000 65536"/>
              <a:gd name="T10" fmla="*/ 0 60000 65536"/>
              <a:gd name="T11" fmla="*/ 0 60000 65536"/>
              <a:gd name="T12" fmla="*/ 0 w 165"/>
              <a:gd name="T13" fmla="*/ 0 h 149"/>
              <a:gd name="T14" fmla="*/ 165 w 165"/>
              <a:gd name="T15" fmla="*/ 149 h 149"/>
            </a:gdLst>
            <a:ahLst/>
            <a:cxnLst>
              <a:cxn ang="T8">
                <a:pos x="T0" y="T1"/>
              </a:cxn>
              <a:cxn ang="T9">
                <a:pos x="T2" y="T3"/>
              </a:cxn>
              <a:cxn ang="T10">
                <a:pos x="T4" y="T5"/>
              </a:cxn>
              <a:cxn ang="T11">
                <a:pos x="T6" y="T7"/>
              </a:cxn>
            </a:cxnLst>
            <a:rect l="T12" t="T13" r="T14" b="T15"/>
            <a:pathLst>
              <a:path w="165" h="149">
                <a:moveTo>
                  <a:pt x="0" y="0"/>
                </a:moveTo>
                <a:lnTo>
                  <a:pt x="19" y="149"/>
                </a:lnTo>
                <a:lnTo>
                  <a:pt x="142" y="149"/>
                </a:lnTo>
                <a:lnTo>
                  <a:pt x="165" y="0"/>
                </a:lnTo>
              </a:path>
            </a:pathLst>
          </a:custGeom>
          <a:solidFill>
            <a:schemeClr val="tx2"/>
          </a:solidFill>
          <a:ln w="9525" cap="rnd" cmpd="sng">
            <a:solidFill>
              <a:schemeClr val="bg1"/>
            </a:solidFill>
            <a:prstDash val="solid"/>
            <a:round/>
            <a:headEnd type="none" w="sm" len="sm"/>
            <a:tailEnd type="none" w="sm" len="sm"/>
          </a:ln>
          <a:effectLst/>
        </p:spPr>
        <p:txBody>
          <a:bodyPr anchor="ctr" anchorCtr="0">
            <a:prstTxWarp prst="textNoShape">
              <a:avLst/>
            </a:prstTxWarp>
          </a:bodyPr>
          <a:lstStyle/>
          <a:p>
            <a:endParaRPr lang="en-GB" sz="1600" dirty="0">
              <a:solidFill>
                <a:srgbClr val="FFFFFF"/>
              </a:solidFill>
              <a:latin typeface="Garamond"/>
            </a:endParaRPr>
          </a:p>
        </p:txBody>
      </p:sp>
      <p:sp>
        <p:nvSpPr>
          <p:cNvPr id="35" name="Freeform 7"/>
          <p:cNvSpPr>
            <a:spLocks/>
          </p:cNvSpPr>
          <p:nvPr/>
        </p:nvSpPr>
        <p:spPr bwMode="auto">
          <a:xfrm rot="2123672">
            <a:off x="3943035" y="2768186"/>
            <a:ext cx="230636" cy="212341"/>
          </a:xfrm>
          <a:custGeom>
            <a:avLst/>
            <a:gdLst>
              <a:gd name="T0" fmla="*/ 165 w 165"/>
              <a:gd name="T1" fmla="*/ 152 h 152"/>
              <a:gd name="T2" fmla="*/ 150 w 165"/>
              <a:gd name="T3" fmla="*/ 0 h 152"/>
              <a:gd name="T4" fmla="*/ 13 w 165"/>
              <a:gd name="T5" fmla="*/ 0 h 152"/>
              <a:gd name="T6" fmla="*/ 0 w 165"/>
              <a:gd name="T7" fmla="*/ 152 h 152"/>
              <a:gd name="T8" fmla="*/ 0 60000 65536"/>
              <a:gd name="T9" fmla="*/ 0 60000 65536"/>
              <a:gd name="T10" fmla="*/ 0 60000 65536"/>
              <a:gd name="T11" fmla="*/ 0 60000 65536"/>
              <a:gd name="T12" fmla="*/ 0 w 165"/>
              <a:gd name="T13" fmla="*/ 0 h 152"/>
              <a:gd name="T14" fmla="*/ 165 w 165"/>
              <a:gd name="T15" fmla="*/ 152 h 152"/>
            </a:gdLst>
            <a:ahLst/>
            <a:cxnLst>
              <a:cxn ang="T8">
                <a:pos x="T0" y="T1"/>
              </a:cxn>
              <a:cxn ang="T9">
                <a:pos x="T2" y="T3"/>
              </a:cxn>
              <a:cxn ang="T10">
                <a:pos x="T4" y="T5"/>
              </a:cxn>
              <a:cxn ang="T11">
                <a:pos x="T6" y="T7"/>
              </a:cxn>
            </a:cxnLst>
            <a:rect l="T12" t="T13" r="T14" b="T15"/>
            <a:pathLst>
              <a:path w="165" h="152">
                <a:moveTo>
                  <a:pt x="165" y="152"/>
                </a:moveTo>
                <a:lnTo>
                  <a:pt x="150" y="0"/>
                </a:lnTo>
                <a:lnTo>
                  <a:pt x="13" y="0"/>
                </a:lnTo>
                <a:lnTo>
                  <a:pt x="0" y="152"/>
                </a:lnTo>
              </a:path>
            </a:pathLst>
          </a:custGeom>
          <a:solidFill>
            <a:schemeClr val="tx2"/>
          </a:solidFill>
          <a:ln w="9525" cap="rnd" cmpd="sng">
            <a:solidFill>
              <a:schemeClr val="bg1"/>
            </a:solidFill>
            <a:prstDash val="solid"/>
            <a:round/>
            <a:headEnd type="none" w="sm" len="sm"/>
            <a:tailEnd type="none" w="sm" len="sm"/>
          </a:ln>
          <a:effectLst/>
        </p:spPr>
        <p:txBody>
          <a:bodyPr anchor="ctr" anchorCtr="0">
            <a:prstTxWarp prst="textNoShape">
              <a:avLst/>
            </a:prstTxWarp>
          </a:bodyPr>
          <a:lstStyle/>
          <a:p>
            <a:endParaRPr lang="en-GB" sz="1600" dirty="0">
              <a:solidFill>
                <a:srgbClr val="FFFFFF"/>
              </a:solidFill>
              <a:latin typeface="Garamond"/>
            </a:endParaRPr>
          </a:p>
        </p:txBody>
      </p:sp>
      <p:sp>
        <p:nvSpPr>
          <p:cNvPr id="36" name="Freeform 8"/>
          <p:cNvSpPr>
            <a:spLocks/>
          </p:cNvSpPr>
          <p:nvPr/>
        </p:nvSpPr>
        <p:spPr bwMode="auto">
          <a:xfrm rot="752871">
            <a:off x="3056834" y="4775649"/>
            <a:ext cx="230636" cy="208150"/>
          </a:xfrm>
          <a:custGeom>
            <a:avLst/>
            <a:gdLst>
              <a:gd name="T0" fmla="*/ 0 w 165"/>
              <a:gd name="T1" fmla="*/ 0 h 149"/>
              <a:gd name="T2" fmla="*/ 19 w 165"/>
              <a:gd name="T3" fmla="*/ 149 h 149"/>
              <a:gd name="T4" fmla="*/ 142 w 165"/>
              <a:gd name="T5" fmla="*/ 149 h 149"/>
              <a:gd name="T6" fmla="*/ 165 w 165"/>
              <a:gd name="T7" fmla="*/ 0 h 149"/>
              <a:gd name="T8" fmla="*/ 0 60000 65536"/>
              <a:gd name="T9" fmla="*/ 0 60000 65536"/>
              <a:gd name="T10" fmla="*/ 0 60000 65536"/>
              <a:gd name="T11" fmla="*/ 0 60000 65536"/>
              <a:gd name="T12" fmla="*/ 0 w 165"/>
              <a:gd name="T13" fmla="*/ 0 h 149"/>
              <a:gd name="T14" fmla="*/ 165 w 165"/>
              <a:gd name="T15" fmla="*/ 149 h 149"/>
            </a:gdLst>
            <a:ahLst/>
            <a:cxnLst>
              <a:cxn ang="T8">
                <a:pos x="T0" y="T1"/>
              </a:cxn>
              <a:cxn ang="T9">
                <a:pos x="T2" y="T3"/>
              </a:cxn>
              <a:cxn ang="T10">
                <a:pos x="T4" y="T5"/>
              </a:cxn>
              <a:cxn ang="T11">
                <a:pos x="T6" y="T7"/>
              </a:cxn>
            </a:cxnLst>
            <a:rect l="T12" t="T13" r="T14" b="T15"/>
            <a:pathLst>
              <a:path w="165" h="149">
                <a:moveTo>
                  <a:pt x="0" y="0"/>
                </a:moveTo>
                <a:lnTo>
                  <a:pt x="19" y="149"/>
                </a:lnTo>
                <a:lnTo>
                  <a:pt x="142" y="149"/>
                </a:lnTo>
                <a:lnTo>
                  <a:pt x="165" y="0"/>
                </a:lnTo>
              </a:path>
            </a:pathLst>
          </a:custGeom>
          <a:solidFill>
            <a:schemeClr val="tx2"/>
          </a:solidFill>
          <a:ln w="9525" cap="rnd" cmpd="sng">
            <a:solidFill>
              <a:schemeClr val="bg1"/>
            </a:solidFill>
            <a:prstDash val="solid"/>
            <a:round/>
            <a:headEnd type="none" w="sm" len="sm"/>
            <a:tailEnd type="none" w="sm" len="sm"/>
          </a:ln>
          <a:effectLst/>
        </p:spPr>
        <p:txBody>
          <a:bodyPr anchor="ctr" anchorCtr="0">
            <a:prstTxWarp prst="textNoShape">
              <a:avLst/>
            </a:prstTxWarp>
          </a:bodyPr>
          <a:lstStyle/>
          <a:p>
            <a:endParaRPr lang="en-GB" sz="1600" dirty="0">
              <a:solidFill>
                <a:srgbClr val="FFFFFF"/>
              </a:solidFill>
              <a:latin typeface="Garamond"/>
            </a:endParaRPr>
          </a:p>
        </p:txBody>
      </p:sp>
      <p:sp>
        <p:nvSpPr>
          <p:cNvPr id="37" name="Freeform 9"/>
          <p:cNvSpPr>
            <a:spLocks/>
          </p:cNvSpPr>
          <p:nvPr/>
        </p:nvSpPr>
        <p:spPr bwMode="auto">
          <a:xfrm rot="752871">
            <a:off x="3541868" y="2590769"/>
            <a:ext cx="230636" cy="212341"/>
          </a:xfrm>
          <a:custGeom>
            <a:avLst/>
            <a:gdLst>
              <a:gd name="T0" fmla="*/ 165 w 165"/>
              <a:gd name="T1" fmla="*/ 152 h 152"/>
              <a:gd name="T2" fmla="*/ 150 w 165"/>
              <a:gd name="T3" fmla="*/ 0 h 152"/>
              <a:gd name="T4" fmla="*/ 13 w 165"/>
              <a:gd name="T5" fmla="*/ 0 h 152"/>
              <a:gd name="T6" fmla="*/ 0 w 165"/>
              <a:gd name="T7" fmla="*/ 152 h 152"/>
              <a:gd name="T8" fmla="*/ 0 60000 65536"/>
              <a:gd name="T9" fmla="*/ 0 60000 65536"/>
              <a:gd name="T10" fmla="*/ 0 60000 65536"/>
              <a:gd name="T11" fmla="*/ 0 60000 65536"/>
              <a:gd name="T12" fmla="*/ 0 w 165"/>
              <a:gd name="T13" fmla="*/ 0 h 152"/>
              <a:gd name="T14" fmla="*/ 165 w 165"/>
              <a:gd name="T15" fmla="*/ 152 h 152"/>
            </a:gdLst>
            <a:ahLst/>
            <a:cxnLst>
              <a:cxn ang="T8">
                <a:pos x="T0" y="T1"/>
              </a:cxn>
              <a:cxn ang="T9">
                <a:pos x="T2" y="T3"/>
              </a:cxn>
              <a:cxn ang="T10">
                <a:pos x="T4" y="T5"/>
              </a:cxn>
              <a:cxn ang="T11">
                <a:pos x="T6" y="T7"/>
              </a:cxn>
            </a:cxnLst>
            <a:rect l="T12" t="T13" r="T14" b="T15"/>
            <a:pathLst>
              <a:path w="165" h="152">
                <a:moveTo>
                  <a:pt x="165" y="152"/>
                </a:moveTo>
                <a:lnTo>
                  <a:pt x="150" y="0"/>
                </a:lnTo>
                <a:lnTo>
                  <a:pt x="13" y="0"/>
                </a:lnTo>
                <a:lnTo>
                  <a:pt x="0" y="152"/>
                </a:lnTo>
              </a:path>
            </a:pathLst>
          </a:custGeom>
          <a:solidFill>
            <a:schemeClr val="tx2"/>
          </a:solidFill>
          <a:ln w="9525" cap="rnd" cmpd="sng">
            <a:solidFill>
              <a:schemeClr val="bg1"/>
            </a:solidFill>
            <a:prstDash val="solid"/>
            <a:round/>
            <a:headEnd type="none" w="sm" len="sm"/>
            <a:tailEnd type="none" w="sm" len="sm"/>
          </a:ln>
          <a:effectLst/>
        </p:spPr>
        <p:txBody>
          <a:bodyPr anchor="ctr" anchorCtr="0">
            <a:prstTxWarp prst="textNoShape">
              <a:avLst/>
            </a:prstTxWarp>
          </a:bodyPr>
          <a:lstStyle/>
          <a:p>
            <a:endParaRPr lang="en-GB" sz="1600" dirty="0">
              <a:solidFill>
                <a:srgbClr val="FFFFFF"/>
              </a:solidFill>
              <a:latin typeface="Garamond"/>
            </a:endParaRPr>
          </a:p>
        </p:txBody>
      </p:sp>
      <p:sp>
        <p:nvSpPr>
          <p:cNvPr id="38" name="Freeform 10"/>
          <p:cNvSpPr>
            <a:spLocks/>
          </p:cNvSpPr>
          <p:nvPr/>
        </p:nvSpPr>
        <p:spPr bwMode="auto">
          <a:xfrm rot="16900316">
            <a:off x="4395986" y="3905269"/>
            <a:ext cx="230502" cy="208271"/>
          </a:xfrm>
          <a:custGeom>
            <a:avLst/>
            <a:gdLst>
              <a:gd name="T0" fmla="*/ 0 w 165"/>
              <a:gd name="T1" fmla="*/ 0 h 149"/>
              <a:gd name="T2" fmla="*/ 19 w 165"/>
              <a:gd name="T3" fmla="*/ 149 h 149"/>
              <a:gd name="T4" fmla="*/ 142 w 165"/>
              <a:gd name="T5" fmla="*/ 149 h 149"/>
              <a:gd name="T6" fmla="*/ 165 w 165"/>
              <a:gd name="T7" fmla="*/ 0 h 149"/>
              <a:gd name="T8" fmla="*/ 0 60000 65536"/>
              <a:gd name="T9" fmla="*/ 0 60000 65536"/>
              <a:gd name="T10" fmla="*/ 0 60000 65536"/>
              <a:gd name="T11" fmla="*/ 0 60000 65536"/>
              <a:gd name="T12" fmla="*/ 0 w 165"/>
              <a:gd name="T13" fmla="*/ 0 h 149"/>
              <a:gd name="T14" fmla="*/ 165 w 165"/>
              <a:gd name="T15" fmla="*/ 149 h 149"/>
            </a:gdLst>
            <a:ahLst/>
            <a:cxnLst>
              <a:cxn ang="T8">
                <a:pos x="T0" y="T1"/>
              </a:cxn>
              <a:cxn ang="T9">
                <a:pos x="T2" y="T3"/>
              </a:cxn>
              <a:cxn ang="T10">
                <a:pos x="T4" y="T5"/>
              </a:cxn>
              <a:cxn ang="T11">
                <a:pos x="T6" y="T7"/>
              </a:cxn>
            </a:cxnLst>
            <a:rect l="T12" t="T13" r="T14" b="T15"/>
            <a:pathLst>
              <a:path w="165" h="149">
                <a:moveTo>
                  <a:pt x="0" y="0"/>
                </a:moveTo>
                <a:lnTo>
                  <a:pt x="19" y="149"/>
                </a:lnTo>
                <a:lnTo>
                  <a:pt x="142" y="149"/>
                </a:lnTo>
                <a:lnTo>
                  <a:pt x="165" y="0"/>
                </a:lnTo>
              </a:path>
            </a:pathLst>
          </a:custGeom>
          <a:solidFill>
            <a:schemeClr val="tx2"/>
          </a:solidFill>
          <a:ln w="9525" cap="rnd" cmpd="sng">
            <a:solidFill>
              <a:schemeClr val="bg1"/>
            </a:solidFill>
            <a:prstDash val="solid"/>
            <a:round/>
            <a:headEnd type="none" w="sm" len="sm"/>
            <a:tailEnd type="none" w="sm" len="sm"/>
          </a:ln>
          <a:effectLst/>
        </p:spPr>
        <p:txBody>
          <a:bodyPr anchor="ctr" anchorCtr="0">
            <a:prstTxWarp prst="textNoShape">
              <a:avLst/>
            </a:prstTxWarp>
          </a:bodyPr>
          <a:lstStyle/>
          <a:p>
            <a:endParaRPr lang="en-GB" sz="1600" dirty="0">
              <a:solidFill>
                <a:srgbClr val="FFFFFF"/>
              </a:solidFill>
              <a:latin typeface="Garamond"/>
            </a:endParaRPr>
          </a:p>
        </p:txBody>
      </p:sp>
      <p:sp>
        <p:nvSpPr>
          <p:cNvPr id="39" name="Freeform 11"/>
          <p:cNvSpPr>
            <a:spLocks/>
          </p:cNvSpPr>
          <p:nvPr/>
        </p:nvSpPr>
        <p:spPr bwMode="auto">
          <a:xfrm rot="16900316">
            <a:off x="2202850" y="3455439"/>
            <a:ext cx="230502" cy="212465"/>
          </a:xfrm>
          <a:custGeom>
            <a:avLst/>
            <a:gdLst>
              <a:gd name="T0" fmla="*/ 165 w 165"/>
              <a:gd name="T1" fmla="*/ 152 h 152"/>
              <a:gd name="T2" fmla="*/ 150 w 165"/>
              <a:gd name="T3" fmla="*/ 0 h 152"/>
              <a:gd name="T4" fmla="*/ 13 w 165"/>
              <a:gd name="T5" fmla="*/ 0 h 152"/>
              <a:gd name="T6" fmla="*/ 0 w 165"/>
              <a:gd name="T7" fmla="*/ 152 h 152"/>
              <a:gd name="T8" fmla="*/ 0 60000 65536"/>
              <a:gd name="T9" fmla="*/ 0 60000 65536"/>
              <a:gd name="T10" fmla="*/ 0 60000 65536"/>
              <a:gd name="T11" fmla="*/ 0 60000 65536"/>
              <a:gd name="T12" fmla="*/ 0 w 165"/>
              <a:gd name="T13" fmla="*/ 0 h 152"/>
              <a:gd name="T14" fmla="*/ 165 w 165"/>
              <a:gd name="T15" fmla="*/ 152 h 152"/>
            </a:gdLst>
            <a:ahLst/>
            <a:cxnLst>
              <a:cxn ang="T8">
                <a:pos x="T0" y="T1"/>
              </a:cxn>
              <a:cxn ang="T9">
                <a:pos x="T2" y="T3"/>
              </a:cxn>
              <a:cxn ang="T10">
                <a:pos x="T4" y="T5"/>
              </a:cxn>
              <a:cxn ang="T11">
                <a:pos x="T6" y="T7"/>
              </a:cxn>
            </a:cxnLst>
            <a:rect l="T12" t="T13" r="T14" b="T15"/>
            <a:pathLst>
              <a:path w="165" h="152">
                <a:moveTo>
                  <a:pt x="165" y="152"/>
                </a:moveTo>
                <a:lnTo>
                  <a:pt x="150" y="0"/>
                </a:lnTo>
                <a:lnTo>
                  <a:pt x="13" y="0"/>
                </a:lnTo>
                <a:lnTo>
                  <a:pt x="0" y="152"/>
                </a:lnTo>
              </a:path>
            </a:pathLst>
          </a:custGeom>
          <a:solidFill>
            <a:schemeClr val="tx2"/>
          </a:solidFill>
          <a:ln w="9525" cap="rnd" cmpd="sng">
            <a:solidFill>
              <a:schemeClr val="bg1"/>
            </a:solidFill>
            <a:prstDash val="solid"/>
            <a:round/>
            <a:headEnd type="none" w="sm" len="sm"/>
            <a:tailEnd type="none" w="sm" len="sm"/>
          </a:ln>
          <a:effectLst/>
        </p:spPr>
        <p:txBody>
          <a:bodyPr anchor="ctr" anchorCtr="0">
            <a:prstTxWarp prst="textNoShape">
              <a:avLst/>
            </a:prstTxWarp>
          </a:bodyPr>
          <a:lstStyle/>
          <a:p>
            <a:endParaRPr lang="en-GB" sz="1600" dirty="0">
              <a:solidFill>
                <a:srgbClr val="FFFFFF"/>
              </a:solidFill>
              <a:latin typeface="Garamond"/>
            </a:endParaRPr>
          </a:p>
        </p:txBody>
      </p:sp>
      <p:sp>
        <p:nvSpPr>
          <p:cNvPr id="40" name="Freeform 12"/>
          <p:cNvSpPr>
            <a:spLocks/>
          </p:cNvSpPr>
          <p:nvPr/>
        </p:nvSpPr>
        <p:spPr bwMode="auto">
          <a:xfrm rot="18177035">
            <a:off x="4236638" y="4286645"/>
            <a:ext cx="230502" cy="208271"/>
          </a:xfrm>
          <a:custGeom>
            <a:avLst/>
            <a:gdLst>
              <a:gd name="T0" fmla="*/ 0 w 165"/>
              <a:gd name="T1" fmla="*/ 0 h 149"/>
              <a:gd name="T2" fmla="*/ 19 w 165"/>
              <a:gd name="T3" fmla="*/ 149 h 149"/>
              <a:gd name="T4" fmla="*/ 142 w 165"/>
              <a:gd name="T5" fmla="*/ 149 h 149"/>
              <a:gd name="T6" fmla="*/ 165 w 165"/>
              <a:gd name="T7" fmla="*/ 0 h 149"/>
              <a:gd name="T8" fmla="*/ 0 60000 65536"/>
              <a:gd name="T9" fmla="*/ 0 60000 65536"/>
              <a:gd name="T10" fmla="*/ 0 60000 65536"/>
              <a:gd name="T11" fmla="*/ 0 60000 65536"/>
              <a:gd name="T12" fmla="*/ 0 w 165"/>
              <a:gd name="T13" fmla="*/ 0 h 149"/>
              <a:gd name="T14" fmla="*/ 165 w 165"/>
              <a:gd name="T15" fmla="*/ 149 h 149"/>
            </a:gdLst>
            <a:ahLst/>
            <a:cxnLst>
              <a:cxn ang="T8">
                <a:pos x="T0" y="T1"/>
              </a:cxn>
              <a:cxn ang="T9">
                <a:pos x="T2" y="T3"/>
              </a:cxn>
              <a:cxn ang="T10">
                <a:pos x="T4" y="T5"/>
              </a:cxn>
              <a:cxn ang="T11">
                <a:pos x="T6" y="T7"/>
              </a:cxn>
            </a:cxnLst>
            <a:rect l="T12" t="T13" r="T14" b="T15"/>
            <a:pathLst>
              <a:path w="165" h="149">
                <a:moveTo>
                  <a:pt x="0" y="0"/>
                </a:moveTo>
                <a:lnTo>
                  <a:pt x="19" y="149"/>
                </a:lnTo>
                <a:lnTo>
                  <a:pt x="142" y="149"/>
                </a:lnTo>
                <a:lnTo>
                  <a:pt x="165" y="0"/>
                </a:lnTo>
              </a:path>
            </a:pathLst>
          </a:custGeom>
          <a:solidFill>
            <a:schemeClr val="tx2"/>
          </a:solidFill>
          <a:ln w="9525" cap="rnd" cmpd="sng">
            <a:solidFill>
              <a:schemeClr val="bg1"/>
            </a:solidFill>
            <a:prstDash val="solid"/>
            <a:round/>
            <a:headEnd type="none" w="sm" len="sm"/>
            <a:tailEnd type="none" w="sm" len="sm"/>
          </a:ln>
          <a:effectLst/>
        </p:spPr>
        <p:txBody>
          <a:bodyPr anchor="ctr" anchorCtr="0">
            <a:prstTxWarp prst="textNoShape">
              <a:avLst/>
            </a:prstTxWarp>
          </a:bodyPr>
          <a:lstStyle/>
          <a:p>
            <a:endParaRPr lang="en-GB" sz="1600" dirty="0">
              <a:solidFill>
                <a:srgbClr val="FFFFFF"/>
              </a:solidFill>
              <a:latin typeface="Garamond"/>
            </a:endParaRPr>
          </a:p>
        </p:txBody>
      </p:sp>
      <p:sp>
        <p:nvSpPr>
          <p:cNvPr id="41" name="Freeform 13"/>
          <p:cNvSpPr>
            <a:spLocks/>
          </p:cNvSpPr>
          <p:nvPr/>
        </p:nvSpPr>
        <p:spPr bwMode="auto">
          <a:xfrm rot="18177035">
            <a:off x="2360800" y="3071269"/>
            <a:ext cx="230502" cy="212465"/>
          </a:xfrm>
          <a:custGeom>
            <a:avLst/>
            <a:gdLst>
              <a:gd name="T0" fmla="*/ 165 w 165"/>
              <a:gd name="T1" fmla="*/ 152 h 152"/>
              <a:gd name="T2" fmla="*/ 150 w 165"/>
              <a:gd name="T3" fmla="*/ 0 h 152"/>
              <a:gd name="T4" fmla="*/ 13 w 165"/>
              <a:gd name="T5" fmla="*/ 0 h 152"/>
              <a:gd name="T6" fmla="*/ 0 w 165"/>
              <a:gd name="T7" fmla="*/ 152 h 152"/>
              <a:gd name="T8" fmla="*/ 0 60000 65536"/>
              <a:gd name="T9" fmla="*/ 0 60000 65536"/>
              <a:gd name="T10" fmla="*/ 0 60000 65536"/>
              <a:gd name="T11" fmla="*/ 0 60000 65536"/>
              <a:gd name="T12" fmla="*/ 0 w 165"/>
              <a:gd name="T13" fmla="*/ 0 h 152"/>
              <a:gd name="T14" fmla="*/ 165 w 165"/>
              <a:gd name="T15" fmla="*/ 152 h 152"/>
            </a:gdLst>
            <a:ahLst/>
            <a:cxnLst>
              <a:cxn ang="T8">
                <a:pos x="T0" y="T1"/>
              </a:cxn>
              <a:cxn ang="T9">
                <a:pos x="T2" y="T3"/>
              </a:cxn>
              <a:cxn ang="T10">
                <a:pos x="T4" y="T5"/>
              </a:cxn>
              <a:cxn ang="T11">
                <a:pos x="T6" y="T7"/>
              </a:cxn>
            </a:cxnLst>
            <a:rect l="T12" t="T13" r="T14" b="T15"/>
            <a:pathLst>
              <a:path w="165" h="152">
                <a:moveTo>
                  <a:pt x="165" y="152"/>
                </a:moveTo>
                <a:lnTo>
                  <a:pt x="150" y="0"/>
                </a:lnTo>
                <a:lnTo>
                  <a:pt x="13" y="0"/>
                </a:lnTo>
                <a:lnTo>
                  <a:pt x="0" y="152"/>
                </a:lnTo>
              </a:path>
            </a:pathLst>
          </a:custGeom>
          <a:solidFill>
            <a:schemeClr val="tx2"/>
          </a:solidFill>
          <a:ln w="9525" cap="rnd" cmpd="sng">
            <a:solidFill>
              <a:schemeClr val="bg1"/>
            </a:solidFill>
            <a:prstDash val="solid"/>
            <a:round/>
            <a:headEnd type="none" w="sm" len="sm"/>
            <a:tailEnd type="none" w="sm" len="sm"/>
          </a:ln>
          <a:effectLst/>
        </p:spPr>
        <p:txBody>
          <a:bodyPr anchor="ctr" anchorCtr="0">
            <a:prstTxWarp prst="textNoShape">
              <a:avLst/>
            </a:prstTxWarp>
          </a:bodyPr>
          <a:lstStyle/>
          <a:p>
            <a:endParaRPr lang="en-GB" sz="1600" dirty="0">
              <a:solidFill>
                <a:srgbClr val="FFFFFF"/>
              </a:solidFill>
              <a:latin typeface="Garamond"/>
            </a:endParaRPr>
          </a:p>
        </p:txBody>
      </p:sp>
      <p:sp>
        <p:nvSpPr>
          <p:cNvPr id="42" name="Freeform 14"/>
          <p:cNvSpPr>
            <a:spLocks/>
          </p:cNvSpPr>
          <p:nvPr/>
        </p:nvSpPr>
        <p:spPr bwMode="auto">
          <a:xfrm rot="19484148">
            <a:off x="3937443" y="4598232"/>
            <a:ext cx="230636" cy="208150"/>
          </a:xfrm>
          <a:custGeom>
            <a:avLst/>
            <a:gdLst>
              <a:gd name="T0" fmla="*/ 0 w 165"/>
              <a:gd name="T1" fmla="*/ 0 h 149"/>
              <a:gd name="T2" fmla="*/ 19 w 165"/>
              <a:gd name="T3" fmla="*/ 149 h 149"/>
              <a:gd name="T4" fmla="*/ 142 w 165"/>
              <a:gd name="T5" fmla="*/ 149 h 149"/>
              <a:gd name="T6" fmla="*/ 165 w 165"/>
              <a:gd name="T7" fmla="*/ 0 h 149"/>
              <a:gd name="T8" fmla="*/ 0 60000 65536"/>
              <a:gd name="T9" fmla="*/ 0 60000 65536"/>
              <a:gd name="T10" fmla="*/ 0 60000 65536"/>
              <a:gd name="T11" fmla="*/ 0 60000 65536"/>
              <a:gd name="T12" fmla="*/ 0 w 165"/>
              <a:gd name="T13" fmla="*/ 0 h 149"/>
              <a:gd name="T14" fmla="*/ 165 w 165"/>
              <a:gd name="T15" fmla="*/ 149 h 149"/>
            </a:gdLst>
            <a:ahLst/>
            <a:cxnLst>
              <a:cxn ang="T8">
                <a:pos x="T0" y="T1"/>
              </a:cxn>
              <a:cxn ang="T9">
                <a:pos x="T2" y="T3"/>
              </a:cxn>
              <a:cxn ang="T10">
                <a:pos x="T4" y="T5"/>
              </a:cxn>
              <a:cxn ang="T11">
                <a:pos x="T6" y="T7"/>
              </a:cxn>
            </a:cxnLst>
            <a:rect l="T12" t="T13" r="T14" b="T15"/>
            <a:pathLst>
              <a:path w="165" h="149">
                <a:moveTo>
                  <a:pt x="0" y="0"/>
                </a:moveTo>
                <a:lnTo>
                  <a:pt x="19" y="149"/>
                </a:lnTo>
                <a:lnTo>
                  <a:pt x="142" y="149"/>
                </a:lnTo>
                <a:lnTo>
                  <a:pt x="165" y="0"/>
                </a:lnTo>
              </a:path>
            </a:pathLst>
          </a:custGeom>
          <a:solidFill>
            <a:schemeClr val="tx2"/>
          </a:solidFill>
          <a:ln w="9525" cap="rnd" cmpd="sng">
            <a:solidFill>
              <a:schemeClr val="bg1"/>
            </a:solidFill>
            <a:prstDash val="solid"/>
            <a:round/>
            <a:headEnd type="none" w="sm" len="sm"/>
            <a:tailEnd type="none" w="sm" len="sm"/>
          </a:ln>
          <a:effectLst/>
        </p:spPr>
        <p:txBody>
          <a:bodyPr anchor="ctr" anchorCtr="0">
            <a:prstTxWarp prst="textNoShape">
              <a:avLst/>
            </a:prstTxWarp>
          </a:bodyPr>
          <a:lstStyle/>
          <a:p>
            <a:endParaRPr lang="en-GB" sz="1600" dirty="0">
              <a:solidFill>
                <a:srgbClr val="FFFFFF"/>
              </a:solidFill>
              <a:latin typeface="Garamond"/>
            </a:endParaRPr>
          </a:p>
        </p:txBody>
      </p:sp>
      <p:sp>
        <p:nvSpPr>
          <p:cNvPr id="43" name="Freeform 15"/>
          <p:cNvSpPr>
            <a:spLocks/>
          </p:cNvSpPr>
          <p:nvPr/>
        </p:nvSpPr>
        <p:spPr bwMode="auto">
          <a:xfrm rot="19484148">
            <a:off x="2669645" y="2757010"/>
            <a:ext cx="230636" cy="212341"/>
          </a:xfrm>
          <a:custGeom>
            <a:avLst/>
            <a:gdLst>
              <a:gd name="T0" fmla="*/ 165 w 165"/>
              <a:gd name="T1" fmla="*/ 152 h 152"/>
              <a:gd name="T2" fmla="*/ 150 w 165"/>
              <a:gd name="T3" fmla="*/ 0 h 152"/>
              <a:gd name="T4" fmla="*/ 13 w 165"/>
              <a:gd name="T5" fmla="*/ 0 h 152"/>
              <a:gd name="T6" fmla="*/ 0 w 165"/>
              <a:gd name="T7" fmla="*/ 152 h 152"/>
              <a:gd name="T8" fmla="*/ 0 60000 65536"/>
              <a:gd name="T9" fmla="*/ 0 60000 65536"/>
              <a:gd name="T10" fmla="*/ 0 60000 65536"/>
              <a:gd name="T11" fmla="*/ 0 60000 65536"/>
              <a:gd name="T12" fmla="*/ 0 w 165"/>
              <a:gd name="T13" fmla="*/ 0 h 152"/>
              <a:gd name="T14" fmla="*/ 165 w 165"/>
              <a:gd name="T15" fmla="*/ 152 h 152"/>
            </a:gdLst>
            <a:ahLst/>
            <a:cxnLst>
              <a:cxn ang="T8">
                <a:pos x="T0" y="T1"/>
              </a:cxn>
              <a:cxn ang="T9">
                <a:pos x="T2" y="T3"/>
              </a:cxn>
              <a:cxn ang="T10">
                <a:pos x="T4" y="T5"/>
              </a:cxn>
              <a:cxn ang="T11">
                <a:pos x="T6" y="T7"/>
              </a:cxn>
            </a:cxnLst>
            <a:rect l="T12" t="T13" r="T14" b="T15"/>
            <a:pathLst>
              <a:path w="165" h="152">
                <a:moveTo>
                  <a:pt x="165" y="152"/>
                </a:moveTo>
                <a:lnTo>
                  <a:pt x="150" y="0"/>
                </a:lnTo>
                <a:lnTo>
                  <a:pt x="13" y="0"/>
                </a:lnTo>
                <a:lnTo>
                  <a:pt x="0" y="152"/>
                </a:lnTo>
              </a:path>
            </a:pathLst>
          </a:custGeom>
          <a:solidFill>
            <a:schemeClr val="tx2"/>
          </a:solidFill>
          <a:ln w="9525" cap="rnd" cmpd="sng">
            <a:solidFill>
              <a:schemeClr val="bg1"/>
            </a:solidFill>
            <a:prstDash val="solid"/>
            <a:round/>
            <a:headEnd type="none" w="sm" len="sm"/>
            <a:tailEnd type="none" w="sm" len="sm"/>
          </a:ln>
          <a:effectLst/>
        </p:spPr>
        <p:txBody>
          <a:bodyPr anchor="ctr" anchorCtr="0">
            <a:prstTxWarp prst="textNoShape">
              <a:avLst/>
            </a:prstTxWarp>
          </a:bodyPr>
          <a:lstStyle/>
          <a:p>
            <a:endParaRPr lang="en-GB" sz="1600" dirty="0">
              <a:solidFill>
                <a:srgbClr val="FFFFFF"/>
              </a:solidFill>
              <a:latin typeface="Garamond"/>
            </a:endParaRPr>
          </a:p>
        </p:txBody>
      </p:sp>
      <p:sp>
        <p:nvSpPr>
          <p:cNvPr id="44" name="Freeform 16"/>
          <p:cNvSpPr>
            <a:spLocks/>
          </p:cNvSpPr>
          <p:nvPr/>
        </p:nvSpPr>
        <p:spPr bwMode="auto">
          <a:xfrm rot="15547375">
            <a:off x="4394589" y="3472204"/>
            <a:ext cx="230502" cy="208271"/>
          </a:xfrm>
          <a:custGeom>
            <a:avLst/>
            <a:gdLst>
              <a:gd name="T0" fmla="*/ 0 w 165"/>
              <a:gd name="T1" fmla="*/ 0 h 149"/>
              <a:gd name="T2" fmla="*/ 19 w 165"/>
              <a:gd name="T3" fmla="*/ 149 h 149"/>
              <a:gd name="T4" fmla="*/ 142 w 165"/>
              <a:gd name="T5" fmla="*/ 149 h 149"/>
              <a:gd name="T6" fmla="*/ 165 w 165"/>
              <a:gd name="T7" fmla="*/ 0 h 149"/>
              <a:gd name="T8" fmla="*/ 0 60000 65536"/>
              <a:gd name="T9" fmla="*/ 0 60000 65536"/>
              <a:gd name="T10" fmla="*/ 0 60000 65536"/>
              <a:gd name="T11" fmla="*/ 0 60000 65536"/>
              <a:gd name="T12" fmla="*/ 0 w 165"/>
              <a:gd name="T13" fmla="*/ 0 h 149"/>
              <a:gd name="T14" fmla="*/ 165 w 165"/>
              <a:gd name="T15" fmla="*/ 149 h 149"/>
            </a:gdLst>
            <a:ahLst/>
            <a:cxnLst>
              <a:cxn ang="T8">
                <a:pos x="T0" y="T1"/>
              </a:cxn>
              <a:cxn ang="T9">
                <a:pos x="T2" y="T3"/>
              </a:cxn>
              <a:cxn ang="T10">
                <a:pos x="T4" y="T5"/>
              </a:cxn>
              <a:cxn ang="T11">
                <a:pos x="T6" y="T7"/>
              </a:cxn>
            </a:cxnLst>
            <a:rect l="T12" t="T13" r="T14" b="T15"/>
            <a:pathLst>
              <a:path w="165" h="149">
                <a:moveTo>
                  <a:pt x="0" y="0"/>
                </a:moveTo>
                <a:lnTo>
                  <a:pt x="19" y="149"/>
                </a:lnTo>
                <a:lnTo>
                  <a:pt x="142" y="149"/>
                </a:lnTo>
                <a:lnTo>
                  <a:pt x="165" y="0"/>
                </a:lnTo>
              </a:path>
            </a:pathLst>
          </a:custGeom>
          <a:solidFill>
            <a:schemeClr val="tx2"/>
          </a:solidFill>
          <a:ln w="9525" cap="rnd" cmpd="sng">
            <a:solidFill>
              <a:schemeClr val="bg1"/>
            </a:solidFill>
            <a:prstDash val="solid"/>
            <a:round/>
            <a:headEnd type="none" w="sm" len="sm"/>
            <a:tailEnd type="none" w="sm" len="sm"/>
          </a:ln>
          <a:effectLst/>
        </p:spPr>
        <p:txBody>
          <a:bodyPr anchor="ctr" anchorCtr="0">
            <a:prstTxWarp prst="textNoShape">
              <a:avLst/>
            </a:prstTxWarp>
          </a:bodyPr>
          <a:lstStyle/>
          <a:p>
            <a:endParaRPr lang="en-GB" sz="1600" dirty="0">
              <a:solidFill>
                <a:srgbClr val="FFFFFF"/>
              </a:solidFill>
              <a:latin typeface="Garamond"/>
            </a:endParaRPr>
          </a:p>
        </p:txBody>
      </p:sp>
      <p:sp>
        <p:nvSpPr>
          <p:cNvPr id="45" name="Freeform 17"/>
          <p:cNvSpPr>
            <a:spLocks/>
          </p:cNvSpPr>
          <p:nvPr/>
        </p:nvSpPr>
        <p:spPr bwMode="auto">
          <a:xfrm rot="15547375">
            <a:off x="2197258" y="3894092"/>
            <a:ext cx="230502" cy="212465"/>
          </a:xfrm>
          <a:custGeom>
            <a:avLst/>
            <a:gdLst>
              <a:gd name="T0" fmla="*/ 165 w 165"/>
              <a:gd name="T1" fmla="*/ 152 h 152"/>
              <a:gd name="T2" fmla="*/ 150 w 165"/>
              <a:gd name="T3" fmla="*/ 0 h 152"/>
              <a:gd name="T4" fmla="*/ 13 w 165"/>
              <a:gd name="T5" fmla="*/ 0 h 152"/>
              <a:gd name="T6" fmla="*/ 0 w 165"/>
              <a:gd name="T7" fmla="*/ 152 h 152"/>
              <a:gd name="T8" fmla="*/ 0 60000 65536"/>
              <a:gd name="T9" fmla="*/ 0 60000 65536"/>
              <a:gd name="T10" fmla="*/ 0 60000 65536"/>
              <a:gd name="T11" fmla="*/ 0 60000 65536"/>
              <a:gd name="T12" fmla="*/ 0 w 165"/>
              <a:gd name="T13" fmla="*/ 0 h 152"/>
              <a:gd name="T14" fmla="*/ 165 w 165"/>
              <a:gd name="T15" fmla="*/ 152 h 152"/>
            </a:gdLst>
            <a:ahLst/>
            <a:cxnLst>
              <a:cxn ang="T8">
                <a:pos x="T0" y="T1"/>
              </a:cxn>
              <a:cxn ang="T9">
                <a:pos x="T2" y="T3"/>
              </a:cxn>
              <a:cxn ang="T10">
                <a:pos x="T4" y="T5"/>
              </a:cxn>
              <a:cxn ang="T11">
                <a:pos x="T6" y="T7"/>
              </a:cxn>
            </a:cxnLst>
            <a:rect l="T12" t="T13" r="T14" b="T15"/>
            <a:pathLst>
              <a:path w="165" h="152">
                <a:moveTo>
                  <a:pt x="165" y="152"/>
                </a:moveTo>
                <a:lnTo>
                  <a:pt x="150" y="0"/>
                </a:lnTo>
                <a:lnTo>
                  <a:pt x="13" y="0"/>
                </a:lnTo>
                <a:lnTo>
                  <a:pt x="0" y="152"/>
                </a:lnTo>
              </a:path>
            </a:pathLst>
          </a:custGeom>
          <a:solidFill>
            <a:schemeClr val="tx2"/>
          </a:solidFill>
          <a:ln w="9525" cap="rnd" cmpd="sng">
            <a:solidFill>
              <a:schemeClr val="bg1"/>
            </a:solidFill>
            <a:prstDash val="solid"/>
            <a:round/>
            <a:headEnd type="none" w="sm" len="sm"/>
            <a:tailEnd type="none" w="sm" len="sm"/>
          </a:ln>
          <a:effectLst/>
        </p:spPr>
        <p:txBody>
          <a:bodyPr anchor="ctr" anchorCtr="0">
            <a:prstTxWarp prst="textNoShape">
              <a:avLst/>
            </a:prstTxWarp>
          </a:bodyPr>
          <a:lstStyle/>
          <a:p>
            <a:endParaRPr lang="en-GB" sz="1600" dirty="0">
              <a:solidFill>
                <a:srgbClr val="FFFFFF"/>
              </a:solidFill>
              <a:latin typeface="Garamond"/>
            </a:endParaRPr>
          </a:p>
        </p:txBody>
      </p:sp>
      <p:sp>
        <p:nvSpPr>
          <p:cNvPr id="46" name="Freeform 18"/>
          <p:cNvSpPr>
            <a:spLocks/>
          </p:cNvSpPr>
          <p:nvPr/>
        </p:nvSpPr>
        <p:spPr bwMode="auto">
          <a:xfrm rot="3493019">
            <a:off x="2364993" y="4297821"/>
            <a:ext cx="230502" cy="208271"/>
          </a:xfrm>
          <a:custGeom>
            <a:avLst/>
            <a:gdLst>
              <a:gd name="T0" fmla="*/ 0 w 165"/>
              <a:gd name="T1" fmla="*/ 0 h 149"/>
              <a:gd name="T2" fmla="*/ 19 w 165"/>
              <a:gd name="T3" fmla="*/ 149 h 149"/>
              <a:gd name="T4" fmla="*/ 142 w 165"/>
              <a:gd name="T5" fmla="*/ 149 h 149"/>
              <a:gd name="T6" fmla="*/ 165 w 165"/>
              <a:gd name="T7" fmla="*/ 0 h 149"/>
              <a:gd name="T8" fmla="*/ 0 60000 65536"/>
              <a:gd name="T9" fmla="*/ 0 60000 65536"/>
              <a:gd name="T10" fmla="*/ 0 60000 65536"/>
              <a:gd name="T11" fmla="*/ 0 60000 65536"/>
              <a:gd name="T12" fmla="*/ 0 w 165"/>
              <a:gd name="T13" fmla="*/ 0 h 149"/>
              <a:gd name="T14" fmla="*/ 165 w 165"/>
              <a:gd name="T15" fmla="*/ 149 h 149"/>
            </a:gdLst>
            <a:ahLst/>
            <a:cxnLst>
              <a:cxn ang="T8">
                <a:pos x="T0" y="T1"/>
              </a:cxn>
              <a:cxn ang="T9">
                <a:pos x="T2" y="T3"/>
              </a:cxn>
              <a:cxn ang="T10">
                <a:pos x="T4" y="T5"/>
              </a:cxn>
              <a:cxn ang="T11">
                <a:pos x="T6" y="T7"/>
              </a:cxn>
            </a:cxnLst>
            <a:rect l="T12" t="T13" r="T14" b="T15"/>
            <a:pathLst>
              <a:path w="165" h="149">
                <a:moveTo>
                  <a:pt x="0" y="0"/>
                </a:moveTo>
                <a:lnTo>
                  <a:pt x="19" y="149"/>
                </a:lnTo>
                <a:lnTo>
                  <a:pt x="142" y="149"/>
                </a:lnTo>
                <a:lnTo>
                  <a:pt x="165" y="0"/>
                </a:lnTo>
              </a:path>
            </a:pathLst>
          </a:custGeom>
          <a:solidFill>
            <a:schemeClr val="tx2"/>
          </a:solidFill>
          <a:ln w="9525" cap="rnd" cmpd="sng">
            <a:solidFill>
              <a:schemeClr val="bg1"/>
            </a:solidFill>
            <a:prstDash val="solid"/>
            <a:round/>
            <a:headEnd type="none" w="sm" len="sm"/>
            <a:tailEnd type="none" w="sm" len="sm"/>
          </a:ln>
          <a:effectLst/>
        </p:spPr>
        <p:txBody>
          <a:bodyPr anchor="ctr" anchorCtr="0">
            <a:prstTxWarp prst="textNoShape">
              <a:avLst/>
            </a:prstTxWarp>
          </a:bodyPr>
          <a:lstStyle/>
          <a:p>
            <a:endParaRPr lang="en-GB" sz="1600" dirty="0">
              <a:solidFill>
                <a:srgbClr val="FFFFFF"/>
              </a:solidFill>
              <a:latin typeface="Garamond"/>
            </a:endParaRPr>
          </a:p>
        </p:txBody>
      </p:sp>
      <p:sp>
        <p:nvSpPr>
          <p:cNvPr id="47" name="Freeform 19"/>
          <p:cNvSpPr>
            <a:spLocks/>
          </p:cNvSpPr>
          <p:nvPr/>
        </p:nvSpPr>
        <p:spPr bwMode="auto">
          <a:xfrm rot="3493019">
            <a:off x="4245025" y="3090827"/>
            <a:ext cx="230502" cy="212465"/>
          </a:xfrm>
          <a:custGeom>
            <a:avLst/>
            <a:gdLst>
              <a:gd name="T0" fmla="*/ 165 w 165"/>
              <a:gd name="T1" fmla="*/ 152 h 152"/>
              <a:gd name="T2" fmla="*/ 150 w 165"/>
              <a:gd name="T3" fmla="*/ 0 h 152"/>
              <a:gd name="T4" fmla="*/ 13 w 165"/>
              <a:gd name="T5" fmla="*/ 0 h 152"/>
              <a:gd name="T6" fmla="*/ 0 w 165"/>
              <a:gd name="T7" fmla="*/ 152 h 152"/>
              <a:gd name="T8" fmla="*/ 0 60000 65536"/>
              <a:gd name="T9" fmla="*/ 0 60000 65536"/>
              <a:gd name="T10" fmla="*/ 0 60000 65536"/>
              <a:gd name="T11" fmla="*/ 0 60000 65536"/>
              <a:gd name="T12" fmla="*/ 0 w 165"/>
              <a:gd name="T13" fmla="*/ 0 h 152"/>
              <a:gd name="T14" fmla="*/ 165 w 165"/>
              <a:gd name="T15" fmla="*/ 152 h 152"/>
            </a:gdLst>
            <a:ahLst/>
            <a:cxnLst>
              <a:cxn ang="T8">
                <a:pos x="T0" y="T1"/>
              </a:cxn>
              <a:cxn ang="T9">
                <a:pos x="T2" y="T3"/>
              </a:cxn>
              <a:cxn ang="T10">
                <a:pos x="T4" y="T5"/>
              </a:cxn>
              <a:cxn ang="T11">
                <a:pos x="T6" y="T7"/>
              </a:cxn>
            </a:cxnLst>
            <a:rect l="T12" t="T13" r="T14" b="T15"/>
            <a:pathLst>
              <a:path w="165" h="152">
                <a:moveTo>
                  <a:pt x="165" y="152"/>
                </a:moveTo>
                <a:lnTo>
                  <a:pt x="150" y="0"/>
                </a:lnTo>
                <a:lnTo>
                  <a:pt x="13" y="0"/>
                </a:lnTo>
                <a:lnTo>
                  <a:pt x="0" y="152"/>
                </a:lnTo>
              </a:path>
            </a:pathLst>
          </a:custGeom>
          <a:solidFill>
            <a:schemeClr val="tx2"/>
          </a:solidFill>
          <a:ln w="9525" cap="rnd" cmpd="sng">
            <a:solidFill>
              <a:schemeClr val="bg1"/>
            </a:solidFill>
            <a:prstDash val="solid"/>
            <a:round/>
            <a:headEnd type="none" w="sm" len="sm"/>
            <a:tailEnd type="none" w="sm" len="sm"/>
          </a:ln>
          <a:effectLst/>
        </p:spPr>
        <p:txBody>
          <a:bodyPr anchor="ctr" anchorCtr="0">
            <a:prstTxWarp prst="textNoShape">
              <a:avLst/>
            </a:prstTxWarp>
          </a:bodyPr>
          <a:lstStyle/>
          <a:p>
            <a:endParaRPr lang="en-GB" sz="1600" dirty="0">
              <a:solidFill>
                <a:srgbClr val="FFFFFF"/>
              </a:solidFill>
              <a:latin typeface="Garamond"/>
            </a:endParaRPr>
          </a:p>
        </p:txBody>
      </p:sp>
      <p:sp>
        <p:nvSpPr>
          <p:cNvPr id="48" name="Oval 20"/>
          <p:cNvSpPr>
            <a:spLocks noChangeArrowheads="1"/>
          </p:cNvSpPr>
          <p:nvPr/>
        </p:nvSpPr>
        <p:spPr bwMode="auto">
          <a:xfrm rot="20947375">
            <a:off x="2394280" y="2770980"/>
            <a:ext cx="2035186" cy="2034006"/>
          </a:xfrm>
          <a:prstGeom prst="ellipse">
            <a:avLst/>
          </a:prstGeom>
          <a:solidFill>
            <a:schemeClr val="tx2"/>
          </a:solidFill>
          <a:ln w="9525" cap="rnd" cmpd="sng">
            <a:solidFill>
              <a:schemeClr val="tx2"/>
            </a:solidFill>
            <a:prstDash val="solid"/>
            <a:round/>
            <a:headEnd type="none" w="sm" len="sm"/>
            <a:tailEnd type="none" w="sm" len="sm"/>
          </a:ln>
          <a:effectLst/>
        </p:spPr>
        <p:txBody>
          <a:bodyPr anchor="ctr" anchorCtr="0">
            <a:prstTxWarp prst="textNoShape">
              <a:avLst/>
            </a:prstTxWarp>
          </a:bodyPr>
          <a:lstStyle/>
          <a:p>
            <a:endParaRPr lang="en-GB" sz="1600" dirty="0">
              <a:solidFill>
                <a:srgbClr val="FFFFFF"/>
              </a:solidFill>
              <a:latin typeface="Garamond"/>
            </a:endParaRPr>
          </a:p>
        </p:txBody>
      </p:sp>
      <p:sp>
        <p:nvSpPr>
          <p:cNvPr id="49" name="Text Box 21"/>
          <p:cNvSpPr txBox="1">
            <a:spLocks noChangeArrowheads="1"/>
          </p:cNvSpPr>
          <p:nvPr/>
        </p:nvSpPr>
        <p:spPr bwMode="auto">
          <a:xfrm>
            <a:off x="3116779" y="3609416"/>
            <a:ext cx="498661" cy="359931"/>
          </a:xfrm>
          <a:prstGeom prst="rect">
            <a:avLst/>
          </a:prstGeom>
          <a:noFill/>
          <a:ln w="6350">
            <a:noFill/>
            <a:miter lim="800000"/>
            <a:headEnd/>
            <a:tailEnd/>
          </a:ln>
        </p:spPr>
        <p:txBody>
          <a:bodyPr wrap="square" lIns="41065" tIns="41065" rIns="41065" bIns="41065" anchor="ctr">
            <a:prstTxWarp prst="textNoShape">
              <a:avLst/>
            </a:prstTxWarp>
            <a:spAutoFit/>
          </a:bodyPr>
          <a:lstStyle/>
          <a:p>
            <a:pPr algn="ctr">
              <a:spcBef>
                <a:spcPct val="0"/>
              </a:spcBef>
            </a:pPr>
            <a:r>
              <a:rPr lang="de-DE" dirty="0">
                <a:solidFill>
                  <a:srgbClr val="FFFFFF"/>
                </a:solidFill>
                <a:latin typeface="Garamond"/>
              </a:rPr>
              <a:t>Text</a:t>
            </a:r>
          </a:p>
        </p:txBody>
      </p:sp>
      <p:sp>
        <p:nvSpPr>
          <p:cNvPr id="51" name="Oval 23"/>
          <p:cNvSpPr>
            <a:spLocks noChangeArrowheads="1"/>
          </p:cNvSpPr>
          <p:nvPr/>
        </p:nvSpPr>
        <p:spPr bwMode="auto">
          <a:xfrm>
            <a:off x="4735629" y="2766788"/>
            <a:ext cx="2046350" cy="2045182"/>
          </a:xfrm>
          <a:prstGeom prst="ellipse">
            <a:avLst/>
          </a:prstGeom>
          <a:solidFill>
            <a:srgbClr val="4F81BD"/>
          </a:solidFill>
          <a:ln w="12700">
            <a:solidFill>
              <a:schemeClr val="bg2">
                <a:lumMod val="40000"/>
                <a:lumOff val="60000"/>
              </a:schemeClr>
            </a:solidFill>
            <a:round/>
            <a:headEnd/>
            <a:tailEnd/>
          </a:ln>
        </p:spPr>
        <p:txBody>
          <a:bodyPr wrap="none" lIns="36000" tIns="36000" rIns="36000" bIns="36000" anchor="ctr">
            <a:prstTxWarp prst="textNoShape">
              <a:avLst/>
            </a:prstTxWarp>
          </a:bodyPr>
          <a:lstStyle/>
          <a:p>
            <a:endParaRPr lang="en-GB" dirty="0">
              <a:solidFill>
                <a:srgbClr val="FFFFFF"/>
              </a:solidFill>
              <a:latin typeface="Garamond"/>
            </a:endParaRPr>
          </a:p>
        </p:txBody>
      </p:sp>
      <p:sp>
        <p:nvSpPr>
          <p:cNvPr id="55" name="Freeform 24"/>
          <p:cNvSpPr>
            <a:spLocks/>
          </p:cNvSpPr>
          <p:nvPr/>
        </p:nvSpPr>
        <p:spPr bwMode="auto">
          <a:xfrm>
            <a:off x="5642788" y="4803589"/>
            <a:ext cx="230634" cy="208150"/>
          </a:xfrm>
          <a:custGeom>
            <a:avLst/>
            <a:gdLst>
              <a:gd name="T0" fmla="*/ 0 w 165"/>
              <a:gd name="T1" fmla="*/ 0 h 149"/>
              <a:gd name="T2" fmla="*/ 19 w 165"/>
              <a:gd name="T3" fmla="*/ 149 h 149"/>
              <a:gd name="T4" fmla="*/ 142 w 165"/>
              <a:gd name="T5" fmla="*/ 149 h 149"/>
              <a:gd name="T6" fmla="*/ 165 w 165"/>
              <a:gd name="T7" fmla="*/ 0 h 149"/>
              <a:gd name="T8" fmla="*/ 0 60000 65536"/>
              <a:gd name="T9" fmla="*/ 0 60000 65536"/>
              <a:gd name="T10" fmla="*/ 0 60000 65536"/>
              <a:gd name="T11" fmla="*/ 0 60000 65536"/>
              <a:gd name="T12" fmla="*/ 0 w 165"/>
              <a:gd name="T13" fmla="*/ 0 h 149"/>
              <a:gd name="T14" fmla="*/ 165 w 165"/>
              <a:gd name="T15" fmla="*/ 149 h 149"/>
            </a:gdLst>
            <a:ahLst/>
            <a:cxnLst>
              <a:cxn ang="T8">
                <a:pos x="T0" y="T1"/>
              </a:cxn>
              <a:cxn ang="T9">
                <a:pos x="T2" y="T3"/>
              </a:cxn>
              <a:cxn ang="T10">
                <a:pos x="T4" y="T5"/>
              </a:cxn>
              <a:cxn ang="T11">
                <a:pos x="T6" y="T7"/>
              </a:cxn>
            </a:cxnLst>
            <a:rect l="T12" t="T13" r="T14" b="T15"/>
            <a:pathLst>
              <a:path w="165" h="149">
                <a:moveTo>
                  <a:pt x="0" y="0"/>
                </a:moveTo>
                <a:lnTo>
                  <a:pt x="19" y="149"/>
                </a:lnTo>
                <a:lnTo>
                  <a:pt x="142" y="149"/>
                </a:lnTo>
                <a:lnTo>
                  <a:pt x="165" y="0"/>
                </a:lnTo>
              </a:path>
            </a:pathLst>
          </a:custGeom>
          <a:solidFill>
            <a:srgbClr val="4F81BD"/>
          </a:solidFill>
          <a:ln w="12700">
            <a:solidFill>
              <a:schemeClr val="bg2">
                <a:lumMod val="40000"/>
                <a:lumOff val="60000"/>
              </a:schemeClr>
            </a:solidFill>
            <a:round/>
            <a:headEnd/>
            <a:tailEnd/>
          </a:ln>
        </p:spPr>
        <p:txBody>
          <a:bodyPr wrap="none" lIns="36000" tIns="36000" rIns="36000" bIns="36000" anchor="ctr">
            <a:prstTxWarp prst="textNoShape">
              <a:avLst/>
            </a:prstTxWarp>
          </a:bodyPr>
          <a:lstStyle/>
          <a:p>
            <a:endParaRPr lang="en-GB" dirty="0">
              <a:solidFill>
                <a:srgbClr val="FFFFFF"/>
              </a:solidFill>
              <a:latin typeface="Garamond"/>
            </a:endParaRPr>
          </a:p>
        </p:txBody>
      </p:sp>
      <p:sp>
        <p:nvSpPr>
          <p:cNvPr id="60" name="Freeform 25"/>
          <p:cNvSpPr>
            <a:spLocks/>
          </p:cNvSpPr>
          <p:nvPr/>
        </p:nvSpPr>
        <p:spPr bwMode="auto">
          <a:xfrm>
            <a:off x="5641391" y="2565623"/>
            <a:ext cx="230634" cy="212341"/>
          </a:xfrm>
          <a:custGeom>
            <a:avLst/>
            <a:gdLst>
              <a:gd name="T0" fmla="*/ 165 w 165"/>
              <a:gd name="T1" fmla="*/ 152 h 152"/>
              <a:gd name="T2" fmla="*/ 150 w 165"/>
              <a:gd name="T3" fmla="*/ 0 h 152"/>
              <a:gd name="T4" fmla="*/ 13 w 165"/>
              <a:gd name="T5" fmla="*/ 0 h 152"/>
              <a:gd name="T6" fmla="*/ 0 w 165"/>
              <a:gd name="T7" fmla="*/ 152 h 152"/>
              <a:gd name="T8" fmla="*/ 0 60000 65536"/>
              <a:gd name="T9" fmla="*/ 0 60000 65536"/>
              <a:gd name="T10" fmla="*/ 0 60000 65536"/>
              <a:gd name="T11" fmla="*/ 0 60000 65536"/>
              <a:gd name="T12" fmla="*/ 0 w 165"/>
              <a:gd name="T13" fmla="*/ 0 h 152"/>
              <a:gd name="T14" fmla="*/ 165 w 165"/>
              <a:gd name="T15" fmla="*/ 152 h 152"/>
            </a:gdLst>
            <a:ahLst/>
            <a:cxnLst>
              <a:cxn ang="T8">
                <a:pos x="T0" y="T1"/>
              </a:cxn>
              <a:cxn ang="T9">
                <a:pos x="T2" y="T3"/>
              </a:cxn>
              <a:cxn ang="T10">
                <a:pos x="T4" y="T5"/>
              </a:cxn>
              <a:cxn ang="T11">
                <a:pos x="T6" y="T7"/>
              </a:cxn>
            </a:cxnLst>
            <a:rect l="T12" t="T13" r="T14" b="T15"/>
            <a:pathLst>
              <a:path w="165" h="152">
                <a:moveTo>
                  <a:pt x="165" y="152"/>
                </a:moveTo>
                <a:lnTo>
                  <a:pt x="150" y="0"/>
                </a:lnTo>
                <a:lnTo>
                  <a:pt x="13" y="0"/>
                </a:lnTo>
                <a:lnTo>
                  <a:pt x="0" y="152"/>
                </a:lnTo>
              </a:path>
            </a:pathLst>
          </a:custGeom>
          <a:solidFill>
            <a:srgbClr val="4F81BD"/>
          </a:solidFill>
          <a:ln w="12700">
            <a:solidFill>
              <a:schemeClr val="bg2">
                <a:lumMod val="40000"/>
                <a:lumOff val="60000"/>
              </a:schemeClr>
            </a:solidFill>
            <a:round/>
            <a:headEnd/>
            <a:tailEnd/>
          </a:ln>
        </p:spPr>
        <p:txBody>
          <a:bodyPr wrap="none" lIns="36000" tIns="36000" rIns="36000" bIns="36000" anchor="ctr">
            <a:prstTxWarp prst="textNoShape">
              <a:avLst/>
            </a:prstTxWarp>
          </a:bodyPr>
          <a:lstStyle/>
          <a:p>
            <a:endParaRPr lang="en-GB" dirty="0">
              <a:solidFill>
                <a:srgbClr val="FFFFFF"/>
              </a:solidFill>
              <a:latin typeface="Garamond"/>
            </a:endParaRPr>
          </a:p>
        </p:txBody>
      </p:sp>
      <p:sp>
        <p:nvSpPr>
          <p:cNvPr id="65" name="Freeform 26"/>
          <p:cNvSpPr>
            <a:spLocks/>
          </p:cNvSpPr>
          <p:nvPr/>
        </p:nvSpPr>
        <p:spPr bwMode="auto">
          <a:xfrm rot="2776296">
            <a:off x="4833540" y="4457078"/>
            <a:ext cx="230502" cy="208269"/>
          </a:xfrm>
          <a:custGeom>
            <a:avLst/>
            <a:gdLst>
              <a:gd name="T0" fmla="*/ 0 w 165"/>
              <a:gd name="T1" fmla="*/ 0 h 149"/>
              <a:gd name="T2" fmla="*/ 19 w 165"/>
              <a:gd name="T3" fmla="*/ 149 h 149"/>
              <a:gd name="T4" fmla="*/ 142 w 165"/>
              <a:gd name="T5" fmla="*/ 149 h 149"/>
              <a:gd name="T6" fmla="*/ 165 w 165"/>
              <a:gd name="T7" fmla="*/ 0 h 149"/>
              <a:gd name="T8" fmla="*/ 0 60000 65536"/>
              <a:gd name="T9" fmla="*/ 0 60000 65536"/>
              <a:gd name="T10" fmla="*/ 0 60000 65536"/>
              <a:gd name="T11" fmla="*/ 0 60000 65536"/>
              <a:gd name="T12" fmla="*/ 0 w 165"/>
              <a:gd name="T13" fmla="*/ 0 h 149"/>
              <a:gd name="T14" fmla="*/ 165 w 165"/>
              <a:gd name="T15" fmla="*/ 149 h 149"/>
            </a:gdLst>
            <a:ahLst/>
            <a:cxnLst>
              <a:cxn ang="T8">
                <a:pos x="T0" y="T1"/>
              </a:cxn>
              <a:cxn ang="T9">
                <a:pos x="T2" y="T3"/>
              </a:cxn>
              <a:cxn ang="T10">
                <a:pos x="T4" y="T5"/>
              </a:cxn>
              <a:cxn ang="T11">
                <a:pos x="T6" y="T7"/>
              </a:cxn>
            </a:cxnLst>
            <a:rect l="T12" t="T13" r="T14" b="T15"/>
            <a:pathLst>
              <a:path w="165" h="149">
                <a:moveTo>
                  <a:pt x="0" y="0"/>
                </a:moveTo>
                <a:lnTo>
                  <a:pt x="19" y="149"/>
                </a:lnTo>
                <a:lnTo>
                  <a:pt x="142" y="149"/>
                </a:lnTo>
                <a:lnTo>
                  <a:pt x="165" y="0"/>
                </a:lnTo>
              </a:path>
            </a:pathLst>
          </a:custGeom>
          <a:solidFill>
            <a:srgbClr val="4F81BD"/>
          </a:solidFill>
          <a:ln w="12700">
            <a:solidFill>
              <a:schemeClr val="bg2">
                <a:lumMod val="40000"/>
                <a:lumOff val="60000"/>
              </a:schemeClr>
            </a:solidFill>
            <a:round/>
            <a:headEnd/>
            <a:tailEnd/>
          </a:ln>
        </p:spPr>
        <p:txBody>
          <a:bodyPr wrap="none" lIns="36000" tIns="36000" rIns="36000" bIns="36000" anchor="ctr">
            <a:prstTxWarp prst="textNoShape">
              <a:avLst/>
            </a:prstTxWarp>
          </a:bodyPr>
          <a:lstStyle/>
          <a:p>
            <a:endParaRPr lang="en-GB" dirty="0">
              <a:solidFill>
                <a:srgbClr val="FFFFFF"/>
              </a:solidFill>
              <a:latin typeface="Garamond"/>
            </a:endParaRPr>
          </a:p>
        </p:txBody>
      </p:sp>
      <p:sp>
        <p:nvSpPr>
          <p:cNvPr id="66" name="Freeform 27"/>
          <p:cNvSpPr>
            <a:spLocks/>
          </p:cNvSpPr>
          <p:nvPr/>
        </p:nvSpPr>
        <p:spPr bwMode="auto">
          <a:xfrm rot="2776296">
            <a:off x="6450771" y="2907823"/>
            <a:ext cx="230502" cy="212463"/>
          </a:xfrm>
          <a:custGeom>
            <a:avLst/>
            <a:gdLst>
              <a:gd name="T0" fmla="*/ 165 w 165"/>
              <a:gd name="T1" fmla="*/ 152 h 152"/>
              <a:gd name="T2" fmla="*/ 150 w 165"/>
              <a:gd name="T3" fmla="*/ 0 h 152"/>
              <a:gd name="T4" fmla="*/ 13 w 165"/>
              <a:gd name="T5" fmla="*/ 0 h 152"/>
              <a:gd name="T6" fmla="*/ 0 w 165"/>
              <a:gd name="T7" fmla="*/ 152 h 152"/>
              <a:gd name="T8" fmla="*/ 0 60000 65536"/>
              <a:gd name="T9" fmla="*/ 0 60000 65536"/>
              <a:gd name="T10" fmla="*/ 0 60000 65536"/>
              <a:gd name="T11" fmla="*/ 0 60000 65536"/>
              <a:gd name="T12" fmla="*/ 0 w 165"/>
              <a:gd name="T13" fmla="*/ 0 h 152"/>
              <a:gd name="T14" fmla="*/ 165 w 165"/>
              <a:gd name="T15" fmla="*/ 152 h 152"/>
            </a:gdLst>
            <a:ahLst/>
            <a:cxnLst>
              <a:cxn ang="T8">
                <a:pos x="T0" y="T1"/>
              </a:cxn>
              <a:cxn ang="T9">
                <a:pos x="T2" y="T3"/>
              </a:cxn>
              <a:cxn ang="T10">
                <a:pos x="T4" y="T5"/>
              </a:cxn>
              <a:cxn ang="T11">
                <a:pos x="T6" y="T7"/>
              </a:cxn>
            </a:cxnLst>
            <a:rect l="T12" t="T13" r="T14" b="T15"/>
            <a:pathLst>
              <a:path w="165" h="152">
                <a:moveTo>
                  <a:pt x="165" y="152"/>
                </a:moveTo>
                <a:lnTo>
                  <a:pt x="150" y="0"/>
                </a:lnTo>
                <a:lnTo>
                  <a:pt x="13" y="0"/>
                </a:lnTo>
                <a:lnTo>
                  <a:pt x="0" y="152"/>
                </a:lnTo>
              </a:path>
            </a:pathLst>
          </a:custGeom>
          <a:solidFill>
            <a:srgbClr val="4F81BD"/>
          </a:solidFill>
          <a:ln w="12700">
            <a:solidFill>
              <a:schemeClr val="bg2">
                <a:lumMod val="40000"/>
                <a:lumOff val="60000"/>
              </a:schemeClr>
            </a:solidFill>
            <a:round/>
            <a:headEnd/>
            <a:tailEnd/>
          </a:ln>
        </p:spPr>
        <p:txBody>
          <a:bodyPr wrap="none" lIns="36000" tIns="36000" rIns="36000" bIns="36000" anchor="ctr">
            <a:prstTxWarp prst="textNoShape">
              <a:avLst/>
            </a:prstTxWarp>
          </a:bodyPr>
          <a:lstStyle/>
          <a:p>
            <a:endParaRPr lang="en-GB" dirty="0">
              <a:solidFill>
                <a:srgbClr val="FFFFFF"/>
              </a:solidFill>
              <a:latin typeface="Garamond"/>
            </a:endParaRPr>
          </a:p>
        </p:txBody>
      </p:sp>
      <p:sp>
        <p:nvSpPr>
          <p:cNvPr id="67" name="Freeform 28"/>
          <p:cNvSpPr>
            <a:spLocks/>
          </p:cNvSpPr>
          <p:nvPr/>
        </p:nvSpPr>
        <p:spPr bwMode="auto">
          <a:xfrm rot="1405496">
            <a:off x="5201090" y="4711388"/>
            <a:ext cx="230634" cy="208150"/>
          </a:xfrm>
          <a:custGeom>
            <a:avLst/>
            <a:gdLst>
              <a:gd name="T0" fmla="*/ 0 w 165"/>
              <a:gd name="T1" fmla="*/ 0 h 149"/>
              <a:gd name="T2" fmla="*/ 19 w 165"/>
              <a:gd name="T3" fmla="*/ 149 h 149"/>
              <a:gd name="T4" fmla="*/ 142 w 165"/>
              <a:gd name="T5" fmla="*/ 149 h 149"/>
              <a:gd name="T6" fmla="*/ 165 w 165"/>
              <a:gd name="T7" fmla="*/ 0 h 149"/>
              <a:gd name="T8" fmla="*/ 0 60000 65536"/>
              <a:gd name="T9" fmla="*/ 0 60000 65536"/>
              <a:gd name="T10" fmla="*/ 0 60000 65536"/>
              <a:gd name="T11" fmla="*/ 0 60000 65536"/>
              <a:gd name="T12" fmla="*/ 0 w 165"/>
              <a:gd name="T13" fmla="*/ 0 h 149"/>
              <a:gd name="T14" fmla="*/ 165 w 165"/>
              <a:gd name="T15" fmla="*/ 149 h 149"/>
            </a:gdLst>
            <a:ahLst/>
            <a:cxnLst>
              <a:cxn ang="T8">
                <a:pos x="T0" y="T1"/>
              </a:cxn>
              <a:cxn ang="T9">
                <a:pos x="T2" y="T3"/>
              </a:cxn>
              <a:cxn ang="T10">
                <a:pos x="T4" y="T5"/>
              </a:cxn>
              <a:cxn ang="T11">
                <a:pos x="T6" y="T7"/>
              </a:cxn>
            </a:cxnLst>
            <a:rect l="T12" t="T13" r="T14" b="T15"/>
            <a:pathLst>
              <a:path w="165" h="149">
                <a:moveTo>
                  <a:pt x="0" y="0"/>
                </a:moveTo>
                <a:lnTo>
                  <a:pt x="19" y="149"/>
                </a:lnTo>
                <a:lnTo>
                  <a:pt x="142" y="149"/>
                </a:lnTo>
                <a:lnTo>
                  <a:pt x="165" y="0"/>
                </a:lnTo>
              </a:path>
            </a:pathLst>
          </a:custGeom>
          <a:solidFill>
            <a:srgbClr val="4F81BD"/>
          </a:solidFill>
          <a:ln w="12700">
            <a:solidFill>
              <a:schemeClr val="bg2">
                <a:lumMod val="40000"/>
                <a:lumOff val="60000"/>
              </a:schemeClr>
            </a:solidFill>
            <a:round/>
            <a:headEnd/>
            <a:tailEnd/>
          </a:ln>
        </p:spPr>
        <p:txBody>
          <a:bodyPr wrap="none" lIns="36000" tIns="36000" rIns="36000" bIns="36000" anchor="ctr">
            <a:prstTxWarp prst="textNoShape">
              <a:avLst/>
            </a:prstTxWarp>
          </a:bodyPr>
          <a:lstStyle/>
          <a:p>
            <a:endParaRPr lang="en-GB" dirty="0">
              <a:solidFill>
                <a:srgbClr val="FFFFFF"/>
              </a:solidFill>
              <a:latin typeface="Garamond"/>
            </a:endParaRPr>
          </a:p>
        </p:txBody>
      </p:sp>
      <p:sp>
        <p:nvSpPr>
          <p:cNvPr id="68" name="Freeform 29"/>
          <p:cNvSpPr>
            <a:spLocks/>
          </p:cNvSpPr>
          <p:nvPr/>
        </p:nvSpPr>
        <p:spPr bwMode="auto">
          <a:xfrm rot="1405496">
            <a:off x="6090078" y="2657824"/>
            <a:ext cx="230634" cy="212341"/>
          </a:xfrm>
          <a:custGeom>
            <a:avLst/>
            <a:gdLst>
              <a:gd name="T0" fmla="*/ 165 w 165"/>
              <a:gd name="T1" fmla="*/ 152 h 152"/>
              <a:gd name="T2" fmla="*/ 150 w 165"/>
              <a:gd name="T3" fmla="*/ 0 h 152"/>
              <a:gd name="T4" fmla="*/ 13 w 165"/>
              <a:gd name="T5" fmla="*/ 0 h 152"/>
              <a:gd name="T6" fmla="*/ 0 w 165"/>
              <a:gd name="T7" fmla="*/ 152 h 152"/>
              <a:gd name="T8" fmla="*/ 0 60000 65536"/>
              <a:gd name="T9" fmla="*/ 0 60000 65536"/>
              <a:gd name="T10" fmla="*/ 0 60000 65536"/>
              <a:gd name="T11" fmla="*/ 0 60000 65536"/>
              <a:gd name="T12" fmla="*/ 0 w 165"/>
              <a:gd name="T13" fmla="*/ 0 h 152"/>
              <a:gd name="T14" fmla="*/ 165 w 165"/>
              <a:gd name="T15" fmla="*/ 152 h 152"/>
            </a:gdLst>
            <a:ahLst/>
            <a:cxnLst>
              <a:cxn ang="T8">
                <a:pos x="T0" y="T1"/>
              </a:cxn>
              <a:cxn ang="T9">
                <a:pos x="T2" y="T3"/>
              </a:cxn>
              <a:cxn ang="T10">
                <a:pos x="T4" y="T5"/>
              </a:cxn>
              <a:cxn ang="T11">
                <a:pos x="T6" y="T7"/>
              </a:cxn>
            </a:cxnLst>
            <a:rect l="T12" t="T13" r="T14" b="T15"/>
            <a:pathLst>
              <a:path w="165" h="152">
                <a:moveTo>
                  <a:pt x="165" y="152"/>
                </a:moveTo>
                <a:lnTo>
                  <a:pt x="150" y="0"/>
                </a:lnTo>
                <a:lnTo>
                  <a:pt x="13" y="0"/>
                </a:lnTo>
                <a:lnTo>
                  <a:pt x="0" y="152"/>
                </a:lnTo>
              </a:path>
            </a:pathLst>
          </a:custGeom>
          <a:solidFill>
            <a:srgbClr val="4F81BD"/>
          </a:solidFill>
          <a:ln w="12700">
            <a:solidFill>
              <a:schemeClr val="bg2">
                <a:lumMod val="40000"/>
                <a:lumOff val="60000"/>
              </a:schemeClr>
            </a:solidFill>
            <a:round/>
            <a:headEnd/>
            <a:tailEnd/>
          </a:ln>
        </p:spPr>
        <p:txBody>
          <a:bodyPr wrap="none" lIns="36000" tIns="36000" rIns="36000" bIns="36000" anchor="ctr">
            <a:prstTxWarp prst="textNoShape">
              <a:avLst/>
            </a:prstTxWarp>
          </a:bodyPr>
          <a:lstStyle/>
          <a:p>
            <a:endParaRPr lang="en-GB" dirty="0">
              <a:solidFill>
                <a:srgbClr val="FFFFFF"/>
              </a:solidFill>
              <a:latin typeface="Garamond"/>
            </a:endParaRPr>
          </a:p>
        </p:txBody>
      </p:sp>
      <p:sp>
        <p:nvSpPr>
          <p:cNvPr id="69" name="Freeform 30"/>
          <p:cNvSpPr>
            <a:spLocks/>
          </p:cNvSpPr>
          <p:nvPr/>
        </p:nvSpPr>
        <p:spPr bwMode="auto">
          <a:xfrm rot="17552941">
            <a:off x="6680007" y="4109229"/>
            <a:ext cx="230502" cy="208269"/>
          </a:xfrm>
          <a:custGeom>
            <a:avLst/>
            <a:gdLst>
              <a:gd name="T0" fmla="*/ 0 w 165"/>
              <a:gd name="T1" fmla="*/ 0 h 149"/>
              <a:gd name="T2" fmla="*/ 19 w 165"/>
              <a:gd name="T3" fmla="*/ 149 h 149"/>
              <a:gd name="T4" fmla="*/ 142 w 165"/>
              <a:gd name="T5" fmla="*/ 149 h 149"/>
              <a:gd name="T6" fmla="*/ 165 w 165"/>
              <a:gd name="T7" fmla="*/ 0 h 149"/>
              <a:gd name="T8" fmla="*/ 0 60000 65536"/>
              <a:gd name="T9" fmla="*/ 0 60000 65536"/>
              <a:gd name="T10" fmla="*/ 0 60000 65536"/>
              <a:gd name="T11" fmla="*/ 0 60000 65536"/>
              <a:gd name="T12" fmla="*/ 0 w 165"/>
              <a:gd name="T13" fmla="*/ 0 h 149"/>
              <a:gd name="T14" fmla="*/ 165 w 165"/>
              <a:gd name="T15" fmla="*/ 149 h 149"/>
            </a:gdLst>
            <a:ahLst/>
            <a:cxnLst>
              <a:cxn ang="T8">
                <a:pos x="T0" y="T1"/>
              </a:cxn>
              <a:cxn ang="T9">
                <a:pos x="T2" y="T3"/>
              </a:cxn>
              <a:cxn ang="T10">
                <a:pos x="T4" y="T5"/>
              </a:cxn>
              <a:cxn ang="T11">
                <a:pos x="T6" y="T7"/>
              </a:cxn>
            </a:cxnLst>
            <a:rect l="T12" t="T13" r="T14" b="T15"/>
            <a:pathLst>
              <a:path w="165" h="149">
                <a:moveTo>
                  <a:pt x="0" y="0"/>
                </a:moveTo>
                <a:lnTo>
                  <a:pt x="19" y="149"/>
                </a:lnTo>
                <a:lnTo>
                  <a:pt x="142" y="149"/>
                </a:lnTo>
                <a:lnTo>
                  <a:pt x="165" y="0"/>
                </a:lnTo>
              </a:path>
            </a:pathLst>
          </a:custGeom>
          <a:solidFill>
            <a:srgbClr val="4F81BD"/>
          </a:solidFill>
          <a:ln w="12700">
            <a:solidFill>
              <a:schemeClr val="bg2">
                <a:lumMod val="40000"/>
                <a:lumOff val="60000"/>
              </a:schemeClr>
            </a:solidFill>
            <a:round/>
            <a:headEnd/>
            <a:tailEnd/>
          </a:ln>
        </p:spPr>
        <p:txBody>
          <a:bodyPr wrap="none" lIns="36000" tIns="36000" rIns="36000" bIns="36000" anchor="ctr">
            <a:prstTxWarp prst="textNoShape">
              <a:avLst/>
            </a:prstTxWarp>
          </a:bodyPr>
          <a:lstStyle/>
          <a:p>
            <a:endParaRPr lang="en-GB" dirty="0">
              <a:solidFill>
                <a:srgbClr val="FFFFFF"/>
              </a:solidFill>
              <a:latin typeface="Garamond"/>
            </a:endParaRPr>
          </a:p>
        </p:txBody>
      </p:sp>
      <p:sp>
        <p:nvSpPr>
          <p:cNvPr id="70" name="Freeform 31"/>
          <p:cNvSpPr>
            <a:spLocks/>
          </p:cNvSpPr>
          <p:nvPr/>
        </p:nvSpPr>
        <p:spPr bwMode="auto">
          <a:xfrm rot="17552941">
            <a:off x="4611293" y="3254275"/>
            <a:ext cx="230502" cy="212463"/>
          </a:xfrm>
          <a:custGeom>
            <a:avLst/>
            <a:gdLst>
              <a:gd name="T0" fmla="*/ 165 w 165"/>
              <a:gd name="T1" fmla="*/ 152 h 152"/>
              <a:gd name="T2" fmla="*/ 150 w 165"/>
              <a:gd name="T3" fmla="*/ 0 h 152"/>
              <a:gd name="T4" fmla="*/ 13 w 165"/>
              <a:gd name="T5" fmla="*/ 0 h 152"/>
              <a:gd name="T6" fmla="*/ 0 w 165"/>
              <a:gd name="T7" fmla="*/ 152 h 152"/>
              <a:gd name="T8" fmla="*/ 0 60000 65536"/>
              <a:gd name="T9" fmla="*/ 0 60000 65536"/>
              <a:gd name="T10" fmla="*/ 0 60000 65536"/>
              <a:gd name="T11" fmla="*/ 0 60000 65536"/>
              <a:gd name="T12" fmla="*/ 0 w 165"/>
              <a:gd name="T13" fmla="*/ 0 h 152"/>
              <a:gd name="T14" fmla="*/ 165 w 165"/>
              <a:gd name="T15" fmla="*/ 152 h 152"/>
            </a:gdLst>
            <a:ahLst/>
            <a:cxnLst>
              <a:cxn ang="T8">
                <a:pos x="T0" y="T1"/>
              </a:cxn>
              <a:cxn ang="T9">
                <a:pos x="T2" y="T3"/>
              </a:cxn>
              <a:cxn ang="T10">
                <a:pos x="T4" y="T5"/>
              </a:cxn>
              <a:cxn ang="T11">
                <a:pos x="T6" y="T7"/>
              </a:cxn>
            </a:cxnLst>
            <a:rect l="T12" t="T13" r="T14" b="T15"/>
            <a:pathLst>
              <a:path w="165" h="152">
                <a:moveTo>
                  <a:pt x="165" y="152"/>
                </a:moveTo>
                <a:lnTo>
                  <a:pt x="150" y="0"/>
                </a:lnTo>
                <a:lnTo>
                  <a:pt x="13" y="0"/>
                </a:lnTo>
                <a:lnTo>
                  <a:pt x="0" y="152"/>
                </a:lnTo>
              </a:path>
            </a:pathLst>
          </a:custGeom>
          <a:solidFill>
            <a:srgbClr val="4F81BD"/>
          </a:solidFill>
          <a:ln w="12700">
            <a:solidFill>
              <a:schemeClr val="bg2">
                <a:lumMod val="40000"/>
                <a:lumOff val="60000"/>
              </a:schemeClr>
            </a:solidFill>
            <a:round/>
            <a:headEnd/>
            <a:tailEnd/>
          </a:ln>
        </p:spPr>
        <p:txBody>
          <a:bodyPr wrap="none" lIns="36000" tIns="36000" rIns="36000" bIns="36000" anchor="ctr">
            <a:prstTxWarp prst="textNoShape">
              <a:avLst/>
            </a:prstTxWarp>
          </a:bodyPr>
          <a:lstStyle/>
          <a:p>
            <a:endParaRPr lang="en-GB" dirty="0">
              <a:solidFill>
                <a:srgbClr val="FFFFFF"/>
              </a:solidFill>
              <a:latin typeface="Garamond"/>
            </a:endParaRPr>
          </a:p>
        </p:txBody>
      </p:sp>
      <p:sp>
        <p:nvSpPr>
          <p:cNvPr id="71" name="Freeform 32"/>
          <p:cNvSpPr>
            <a:spLocks/>
          </p:cNvSpPr>
          <p:nvPr/>
        </p:nvSpPr>
        <p:spPr bwMode="auto">
          <a:xfrm rot="18829659">
            <a:off x="6452169" y="4454284"/>
            <a:ext cx="230502" cy="208269"/>
          </a:xfrm>
          <a:custGeom>
            <a:avLst/>
            <a:gdLst>
              <a:gd name="T0" fmla="*/ 0 w 165"/>
              <a:gd name="T1" fmla="*/ 0 h 149"/>
              <a:gd name="T2" fmla="*/ 19 w 165"/>
              <a:gd name="T3" fmla="*/ 149 h 149"/>
              <a:gd name="T4" fmla="*/ 142 w 165"/>
              <a:gd name="T5" fmla="*/ 149 h 149"/>
              <a:gd name="T6" fmla="*/ 165 w 165"/>
              <a:gd name="T7" fmla="*/ 0 h 149"/>
              <a:gd name="T8" fmla="*/ 0 60000 65536"/>
              <a:gd name="T9" fmla="*/ 0 60000 65536"/>
              <a:gd name="T10" fmla="*/ 0 60000 65536"/>
              <a:gd name="T11" fmla="*/ 0 60000 65536"/>
              <a:gd name="T12" fmla="*/ 0 w 165"/>
              <a:gd name="T13" fmla="*/ 0 h 149"/>
              <a:gd name="T14" fmla="*/ 165 w 165"/>
              <a:gd name="T15" fmla="*/ 149 h 149"/>
            </a:gdLst>
            <a:ahLst/>
            <a:cxnLst>
              <a:cxn ang="T8">
                <a:pos x="T0" y="T1"/>
              </a:cxn>
              <a:cxn ang="T9">
                <a:pos x="T2" y="T3"/>
              </a:cxn>
              <a:cxn ang="T10">
                <a:pos x="T4" y="T5"/>
              </a:cxn>
              <a:cxn ang="T11">
                <a:pos x="T6" y="T7"/>
              </a:cxn>
            </a:cxnLst>
            <a:rect l="T12" t="T13" r="T14" b="T15"/>
            <a:pathLst>
              <a:path w="165" h="149">
                <a:moveTo>
                  <a:pt x="0" y="0"/>
                </a:moveTo>
                <a:lnTo>
                  <a:pt x="19" y="149"/>
                </a:lnTo>
                <a:lnTo>
                  <a:pt x="142" y="149"/>
                </a:lnTo>
                <a:lnTo>
                  <a:pt x="165" y="0"/>
                </a:lnTo>
              </a:path>
            </a:pathLst>
          </a:custGeom>
          <a:solidFill>
            <a:srgbClr val="4F81BD"/>
          </a:solidFill>
          <a:ln w="12700">
            <a:solidFill>
              <a:schemeClr val="bg2">
                <a:lumMod val="40000"/>
                <a:lumOff val="60000"/>
              </a:schemeClr>
            </a:solidFill>
            <a:round/>
            <a:headEnd/>
            <a:tailEnd/>
          </a:ln>
        </p:spPr>
        <p:txBody>
          <a:bodyPr wrap="none" lIns="36000" tIns="36000" rIns="36000" bIns="36000" anchor="ctr">
            <a:prstTxWarp prst="textNoShape">
              <a:avLst/>
            </a:prstTxWarp>
          </a:bodyPr>
          <a:lstStyle/>
          <a:p>
            <a:endParaRPr lang="en-GB" dirty="0">
              <a:solidFill>
                <a:srgbClr val="FFFFFF"/>
              </a:solidFill>
              <a:latin typeface="Garamond"/>
            </a:endParaRPr>
          </a:p>
        </p:txBody>
      </p:sp>
      <p:sp>
        <p:nvSpPr>
          <p:cNvPr id="72" name="Freeform 33"/>
          <p:cNvSpPr>
            <a:spLocks/>
          </p:cNvSpPr>
          <p:nvPr/>
        </p:nvSpPr>
        <p:spPr bwMode="auto">
          <a:xfrm rot="18829659">
            <a:off x="4839131" y="2906426"/>
            <a:ext cx="230502" cy="212463"/>
          </a:xfrm>
          <a:custGeom>
            <a:avLst/>
            <a:gdLst>
              <a:gd name="T0" fmla="*/ 165 w 165"/>
              <a:gd name="T1" fmla="*/ 152 h 152"/>
              <a:gd name="T2" fmla="*/ 150 w 165"/>
              <a:gd name="T3" fmla="*/ 0 h 152"/>
              <a:gd name="T4" fmla="*/ 13 w 165"/>
              <a:gd name="T5" fmla="*/ 0 h 152"/>
              <a:gd name="T6" fmla="*/ 0 w 165"/>
              <a:gd name="T7" fmla="*/ 152 h 152"/>
              <a:gd name="T8" fmla="*/ 0 60000 65536"/>
              <a:gd name="T9" fmla="*/ 0 60000 65536"/>
              <a:gd name="T10" fmla="*/ 0 60000 65536"/>
              <a:gd name="T11" fmla="*/ 0 60000 65536"/>
              <a:gd name="T12" fmla="*/ 0 w 165"/>
              <a:gd name="T13" fmla="*/ 0 h 152"/>
              <a:gd name="T14" fmla="*/ 165 w 165"/>
              <a:gd name="T15" fmla="*/ 152 h 152"/>
            </a:gdLst>
            <a:ahLst/>
            <a:cxnLst>
              <a:cxn ang="T8">
                <a:pos x="T0" y="T1"/>
              </a:cxn>
              <a:cxn ang="T9">
                <a:pos x="T2" y="T3"/>
              </a:cxn>
              <a:cxn ang="T10">
                <a:pos x="T4" y="T5"/>
              </a:cxn>
              <a:cxn ang="T11">
                <a:pos x="T6" y="T7"/>
              </a:cxn>
            </a:cxnLst>
            <a:rect l="T12" t="T13" r="T14" b="T15"/>
            <a:pathLst>
              <a:path w="165" h="152">
                <a:moveTo>
                  <a:pt x="165" y="152"/>
                </a:moveTo>
                <a:lnTo>
                  <a:pt x="150" y="0"/>
                </a:lnTo>
                <a:lnTo>
                  <a:pt x="13" y="0"/>
                </a:lnTo>
                <a:lnTo>
                  <a:pt x="0" y="152"/>
                </a:lnTo>
              </a:path>
            </a:pathLst>
          </a:custGeom>
          <a:solidFill>
            <a:srgbClr val="4F81BD"/>
          </a:solidFill>
          <a:ln w="12700">
            <a:solidFill>
              <a:schemeClr val="bg2">
                <a:lumMod val="40000"/>
                <a:lumOff val="60000"/>
              </a:schemeClr>
            </a:solidFill>
            <a:round/>
            <a:headEnd/>
            <a:tailEnd/>
          </a:ln>
        </p:spPr>
        <p:txBody>
          <a:bodyPr wrap="none" lIns="36000" tIns="36000" rIns="36000" bIns="36000" anchor="ctr">
            <a:prstTxWarp prst="textNoShape">
              <a:avLst/>
            </a:prstTxWarp>
          </a:bodyPr>
          <a:lstStyle/>
          <a:p>
            <a:endParaRPr lang="en-GB" dirty="0">
              <a:solidFill>
                <a:srgbClr val="FFFFFF"/>
              </a:solidFill>
              <a:latin typeface="Garamond"/>
            </a:endParaRPr>
          </a:p>
        </p:txBody>
      </p:sp>
      <p:sp>
        <p:nvSpPr>
          <p:cNvPr id="73" name="Freeform 34"/>
          <p:cNvSpPr>
            <a:spLocks/>
          </p:cNvSpPr>
          <p:nvPr/>
        </p:nvSpPr>
        <p:spPr bwMode="auto">
          <a:xfrm rot="20136772">
            <a:off x="6099863" y="4704403"/>
            <a:ext cx="230634" cy="208150"/>
          </a:xfrm>
          <a:custGeom>
            <a:avLst/>
            <a:gdLst>
              <a:gd name="T0" fmla="*/ 0 w 165"/>
              <a:gd name="T1" fmla="*/ 0 h 149"/>
              <a:gd name="T2" fmla="*/ 19 w 165"/>
              <a:gd name="T3" fmla="*/ 149 h 149"/>
              <a:gd name="T4" fmla="*/ 142 w 165"/>
              <a:gd name="T5" fmla="*/ 149 h 149"/>
              <a:gd name="T6" fmla="*/ 165 w 165"/>
              <a:gd name="T7" fmla="*/ 0 h 149"/>
              <a:gd name="T8" fmla="*/ 0 60000 65536"/>
              <a:gd name="T9" fmla="*/ 0 60000 65536"/>
              <a:gd name="T10" fmla="*/ 0 60000 65536"/>
              <a:gd name="T11" fmla="*/ 0 60000 65536"/>
              <a:gd name="T12" fmla="*/ 0 w 165"/>
              <a:gd name="T13" fmla="*/ 0 h 149"/>
              <a:gd name="T14" fmla="*/ 165 w 165"/>
              <a:gd name="T15" fmla="*/ 149 h 149"/>
            </a:gdLst>
            <a:ahLst/>
            <a:cxnLst>
              <a:cxn ang="T8">
                <a:pos x="T0" y="T1"/>
              </a:cxn>
              <a:cxn ang="T9">
                <a:pos x="T2" y="T3"/>
              </a:cxn>
              <a:cxn ang="T10">
                <a:pos x="T4" y="T5"/>
              </a:cxn>
              <a:cxn ang="T11">
                <a:pos x="T6" y="T7"/>
              </a:cxn>
            </a:cxnLst>
            <a:rect l="T12" t="T13" r="T14" b="T15"/>
            <a:pathLst>
              <a:path w="165" h="149">
                <a:moveTo>
                  <a:pt x="0" y="0"/>
                </a:moveTo>
                <a:lnTo>
                  <a:pt x="19" y="149"/>
                </a:lnTo>
                <a:lnTo>
                  <a:pt x="142" y="149"/>
                </a:lnTo>
                <a:lnTo>
                  <a:pt x="165" y="0"/>
                </a:lnTo>
              </a:path>
            </a:pathLst>
          </a:custGeom>
          <a:solidFill>
            <a:srgbClr val="4F81BD"/>
          </a:solidFill>
          <a:ln w="12700">
            <a:solidFill>
              <a:schemeClr val="bg2">
                <a:lumMod val="40000"/>
                <a:lumOff val="60000"/>
              </a:schemeClr>
            </a:solidFill>
            <a:round/>
            <a:headEnd/>
            <a:tailEnd/>
          </a:ln>
        </p:spPr>
        <p:txBody>
          <a:bodyPr wrap="none" lIns="36000" tIns="36000" rIns="36000" bIns="36000" anchor="ctr">
            <a:prstTxWarp prst="textNoShape">
              <a:avLst/>
            </a:prstTxWarp>
          </a:bodyPr>
          <a:lstStyle/>
          <a:p>
            <a:endParaRPr lang="en-GB" dirty="0">
              <a:solidFill>
                <a:srgbClr val="FFFFFF"/>
              </a:solidFill>
              <a:latin typeface="Garamond"/>
            </a:endParaRPr>
          </a:p>
        </p:txBody>
      </p:sp>
      <p:sp>
        <p:nvSpPr>
          <p:cNvPr id="74" name="Freeform 35"/>
          <p:cNvSpPr>
            <a:spLocks/>
          </p:cNvSpPr>
          <p:nvPr/>
        </p:nvSpPr>
        <p:spPr bwMode="auto">
          <a:xfrm rot="20136772">
            <a:off x="5202488" y="2656427"/>
            <a:ext cx="230634" cy="212341"/>
          </a:xfrm>
          <a:custGeom>
            <a:avLst/>
            <a:gdLst>
              <a:gd name="T0" fmla="*/ 165 w 165"/>
              <a:gd name="T1" fmla="*/ 152 h 152"/>
              <a:gd name="T2" fmla="*/ 150 w 165"/>
              <a:gd name="T3" fmla="*/ 0 h 152"/>
              <a:gd name="T4" fmla="*/ 13 w 165"/>
              <a:gd name="T5" fmla="*/ 0 h 152"/>
              <a:gd name="T6" fmla="*/ 0 w 165"/>
              <a:gd name="T7" fmla="*/ 152 h 152"/>
              <a:gd name="T8" fmla="*/ 0 60000 65536"/>
              <a:gd name="T9" fmla="*/ 0 60000 65536"/>
              <a:gd name="T10" fmla="*/ 0 60000 65536"/>
              <a:gd name="T11" fmla="*/ 0 60000 65536"/>
              <a:gd name="T12" fmla="*/ 0 w 165"/>
              <a:gd name="T13" fmla="*/ 0 h 152"/>
              <a:gd name="T14" fmla="*/ 165 w 165"/>
              <a:gd name="T15" fmla="*/ 152 h 152"/>
            </a:gdLst>
            <a:ahLst/>
            <a:cxnLst>
              <a:cxn ang="T8">
                <a:pos x="T0" y="T1"/>
              </a:cxn>
              <a:cxn ang="T9">
                <a:pos x="T2" y="T3"/>
              </a:cxn>
              <a:cxn ang="T10">
                <a:pos x="T4" y="T5"/>
              </a:cxn>
              <a:cxn ang="T11">
                <a:pos x="T6" y="T7"/>
              </a:cxn>
            </a:cxnLst>
            <a:rect l="T12" t="T13" r="T14" b="T15"/>
            <a:pathLst>
              <a:path w="165" h="152">
                <a:moveTo>
                  <a:pt x="165" y="152"/>
                </a:moveTo>
                <a:lnTo>
                  <a:pt x="150" y="0"/>
                </a:lnTo>
                <a:lnTo>
                  <a:pt x="13" y="0"/>
                </a:lnTo>
                <a:lnTo>
                  <a:pt x="0" y="152"/>
                </a:lnTo>
              </a:path>
            </a:pathLst>
          </a:custGeom>
          <a:solidFill>
            <a:srgbClr val="4F81BD"/>
          </a:solidFill>
          <a:ln w="12700">
            <a:solidFill>
              <a:schemeClr val="bg2">
                <a:lumMod val="40000"/>
                <a:lumOff val="60000"/>
              </a:schemeClr>
            </a:solidFill>
            <a:round/>
            <a:headEnd/>
            <a:tailEnd/>
          </a:ln>
        </p:spPr>
        <p:txBody>
          <a:bodyPr wrap="none" lIns="36000" tIns="36000" rIns="36000" bIns="36000" anchor="ctr">
            <a:prstTxWarp prst="textNoShape">
              <a:avLst/>
            </a:prstTxWarp>
          </a:bodyPr>
          <a:lstStyle/>
          <a:p>
            <a:endParaRPr lang="en-GB" dirty="0">
              <a:solidFill>
                <a:srgbClr val="FFFFFF"/>
              </a:solidFill>
              <a:latin typeface="Garamond"/>
            </a:endParaRPr>
          </a:p>
        </p:txBody>
      </p:sp>
      <p:sp>
        <p:nvSpPr>
          <p:cNvPr id="75" name="Freeform 36"/>
          <p:cNvSpPr>
            <a:spLocks/>
          </p:cNvSpPr>
          <p:nvPr/>
        </p:nvSpPr>
        <p:spPr bwMode="auto">
          <a:xfrm rot="16200000">
            <a:off x="6761078" y="3684546"/>
            <a:ext cx="230502" cy="208269"/>
          </a:xfrm>
          <a:custGeom>
            <a:avLst/>
            <a:gdLst>
              <a:gd name="T0" fmla="*/ 0 w 165"/>
              <a:gd name="T1" fmla="*/ 0 h 149"/>
              <a:gd name="T2" fmla="*/ 19 w 165"/>
              <a:gd name="T3" fmla="*/ 149 h 149"/>
              <a:gd name="T4" fmla="*/ 142 w 165"/>
              <a:gd name="T5" fmla="*/ 149 h 149"/>
              <a:gd name="T6" fmla="*/ 165 w 165"/>
              <a:gd name="T7" fmla="*/ 0 h 149"/>
              <a:gd name="T8" fmla="*/ 0 60000 65536"/>
              <a:gd name="T9" fmla="*/ 0 60000 65536"/>
              <a:gd name="T10" fmla="*/ 0 60000 65536"/>
              <a:gd name="T11" fmla="*/ 0 60000 65536"/>
              <a:gd name="T12" fmla="*/ 0 w 165"/>
              <a:gd name="T13" fmla="*/ 0 h 149"/>
              <a:gd name="T14" fmla="*/ 165 w 165"/>
              <a:gd name="T15" fmla="*/ 149 h 149"/>
            </a:gdLst>
            <a:ahLst/>
            <a:cxnLst>
              <a:cxn ang="T8">
                <a:pos x="T0" y="T1"/>
              </a:cxn>
              <a:cxn ang="T9">
                <a:pos x="T2" y="T3"/>
              </a:cxn>
              <a:cxn ang="T10">
                <a:pos x="T4" y="T5"/>
              </a:cxn>
              <a:cxn ang="T11">
                <a:pos x="T6" y="T7"/>
              </a:cxn>
            </a:cxnLst>
            <a:rect l="T12" t="T13" r="T14" b="T15"/>
            <a:pathLst>
              <a:path w="165" h="149">
                <a:moveTo>
                  <a:pt x="0" y="0"/>
                </a:moveTo>
                <a:lnTo>
                  <a:pt x="19" y="149"/>
                </a:lnTo>
                <a:lnTo>
                  <a:pt x="142" y="149"/>
                </a:lnTo>
                <a:lnTo>
                  <a:pt x="165" y="0"/>
                </a:lnTo>
              </a:path>
            </a:pathLst>
          </a:custGeom>
          <a:solidFill>
            <a:srgbClr val="4F81BD"/>
          </a:solidFill>
          <a:ln w="12700">
            <a:solidFill>
              <a:schemeClr val="bg2">
                <a:lumMod val="40000"/>
                <a:lumOff val="60000"/>
              </a:schemeClr>
            </a:solidFill>
            <a:round/>
            <a:headEnd/>
            <a:tailEnd/>
          </a:ln>
        </p:spPr>
        <p:txBody>
          <a:bodyPr wrap="none" lIns="36000" tIns="36000" rIns="36000" bIns="36000" anchor="ctr">
            <a:prstTxWarp prst="textNoShape">
              <a:avLst/>
            </a:prstTxWarp>
          </a:bodyPr>
          <a:lstStyle/>
          <a:p>
            <a:endParaRPr lang="en-GB" dirty="0">
              <a:solidFill>
                <a:srgbClr val="FFFFFF"/>
              </a:solidFill>
              <a:latin typeface="Garamond"/>
            </a:endParaRPr>
          </a:p>
        </p:txBody>
      </p:sp>
      <p:sp>
        <p:nvSpPr>
          <p:cNvPr id="76" name="Freeform 37"/>
          <p:cNvSpPr>
            <a:spLocks/>
          </p:cNvSpPr>
          <p:nvPr/>
        </p:nvSpPr>
        <p:spPr bwMode="auto">
          <a:xfrm rot="16200000">
            <a:off x="4523232" y="3684545"/>
            <a:ext cx="230502" cy="212463"/>
          </a:xfrm>
          <a:custGeom>
            <a:avLst/>
            <a:gdLst>
              <a:gd name="T0" fmla="*/ 165 w 165"/>
              <a:gd name="T1" fmla="*/ 152 h 152"/>
              <a:gd name="T2" fmla="*/ 150 w 165"/>
              <a:gd name="T3" fmla="*/ 0 h 152"/>
              <a:gd name="T4" fmla="*/ 13 w 165"/>
              <a:gd name="T5" fmla="*/ 0 h 152"/>
              <a:gd name="T6" fmla="*/ 0 w 165"/>
              <a:gd name="T7" fmla="*/ 152 h 152"/>
              <a:gd name="T8" fmla="*/ 0 60000 65536"/>
              <a:gd name="T9" fmla="*/ 0 60000 65536"/>
              <a:gd name="T10" fmla="*/ 0 60000 65536"/>
              <a:gd name="T11" fmla="*/ 0 60000 65536"/>
              <a:gd name="T12" fmla="*/ 0 w 165"/>
              <a:gd name="T13" fmla="*/ 0 h 152"/>
              <a:gd name="T14" fmla="*/ 165 w 165"/>
              <a:gd name="T15" fmla="*/ 152 h 152"/>
            </a:gdLst>
            <a:ahLst/>
            <a:cxnLst>
              <a:cxn ang="T8">
                <a:pos x="T0" y="T1"/>
              </a:cxn>
              <a:cxn ang="T9">
                <a:pos x="T2" y="T3"/>
              </a:cxn>
              <a:cxn ang="T10">
                <a:pos x="T4" y="T5"/>
              </a:cxn>
              <a:cxn ang="T11">
                <a:pos x="T6" y="T7"/>
              </a:cxn>
            </a:cxnLst>
            <a:rect l="T12" t="T13" r="T14" b="T15"/>
            <a:pathLst>
              <a:path w="165" h="152">
                <a:moveTo>
                  <a:pt x="165" y="152"/>
                </a:moveTo>
                <a:lnTo>
                  <a:pt x="150" y="0"/>
                </a:lnTo>
                <a:lnTo>
                  <a:pt x="13" y="0"/>
                </a:lnTo>
                <a:lnTo>
                  <a:pt x="0" y="152"/>
                </a:lnTo>
              </a:path>
            </a:pathLst>
          </a:custGeom>
          <a:solidFill>
            <a:srgbClr val="4F81BD"/>
          </a:solidFill>
          <a:ln w="12700">
            <a:solidFill>
              <a:schemeClr val="bg2">
                <a:lumMod val="40000"/>
                <a:lumOff val="60000"/>
              </a:schemeClr>
            </a:solidFill>
            <a:round/>
            <a:headEnd/>
            <a:tailEnd/>
          </a:ln>
        </p:spPr>
        <p:txBody>
          <a:bodyPr wrap="none" lIns="36000" tIns="36000" rIns="36000" bIns="36000" anchor="ctr">
            <a:prstTxWarp prst="textNoShape">
              <a:avLst/>
            </a:prstTxWarp>
          </a:bodyPr>
          <a:lstStyle/>
          <a:p>
            <a:endParaRPr lang="en-GB" dirty="0">
              <a:solidFill>
                <a:srgbClr val="FFFFFF"/>
              </a:solidFill>
              <a:latin typeface="Garamond"/>
            </a:endParaRPr>
          </a:p>
        </p:txBody>
      </p:sp>
      <p:sp>
        <p:nvSpPr>
          <p:cNvPr id="77" name="Freeform 38"/>
          <p:cNvSpPr>
            <a:spLocks/>
          </p:cNvSpPr>
          <p:nvPr/>
        </p:nvSpPr>
        <p:spPr bwMode="auto">
          <a:xfrm rot="4145643">
            <a:off x="4612690" y="4112023"/>
            <a:ext cx="230502" cy="208269"/>
          </a:xfrm>
          <a:custGeom>
            <a:avLst/>
            <a:gdLst>
              <a:gd name="T0" fmla="*/ 0 w 165"/>
              <a:gd name="T1" fmla="*/ 0 h 149"/>
              <a:gd name="T2" fmla="*/ 19 w 165"/>
              <a:gd name="T3" fmla="*/ 149 h 149"/>
              <a:gd name="T4" fmla="*/ 142 w 165"/>
              <a:gd name="T5" fmla="*/ 149 h 149"/>
              <a:gd name="T6" fmla="*/ 165 w 165"/>
              <a:gd name="T7" fmla="*/ 0 h 149"/>
              <a:gd name="T8" fmla="*/ 0 60000 65536"/>
              <a:gd name="T9" fmla="*/ 0 60000 65536"/>
              <a:gd name="T10" fmla="*/ 0 60000 65536"/>
              <a:gd name="T11" fmla="*/ 0 60000 65536"/>
              <a:gd name="T12" fmla="*/ 0 w 165"/>
              <a:gd name="T13" fmla="*/ 0 h 149"/>
              <a:gd name="T14" fmla="*/ 165 w 165"/>
              <a:gd name="T15" fmla="*/ 149 h 149"/>
            </a:gdLst>
            <a:ahLst/>
            <a:cxnLst>
              <a:cxn ang="T8">
                <a:pos x="T0" y="T1"/>
              </a:cxn>
              <a:cxn ang="T9">
                <a:pos x="T2" y="T3"/>
              </a:cxn>
              <a:cxn ang="T10">
                <a:pos x="T4" y="T5"/>
              </a:cxn>
              <a:cxn ang="T11">
                <a:pos x="T6" y="T7"/>
              </a:cxn>
            </a:cxnLst>
            <a:rect l="T12" t="T13" r="T14" b="T15"/>
            <a:pathLst>
              <a:path w="165" h="149">
                <a:moveTo>
                  <a:pt x="0" y="0"/>
                </a:moveTo>
                <a:lnTo>
                  <a:pt x="19" y="149"/>
                </a:lnTo>
                <a:lnTo>
                  <a:pt x="142" y="149"/>
                </a:lnTo>
                <a:lnTo>
                  <a:pt x="165" y="0"/>
                </a:lnTo>
              </a:path>
            </a:pathLst>
          </a:custGeom>
          <a:solidFill>
            <a:srgbClr val="4F81BD"/>
          </a:solidFill>
          <a:ln w="12700">
            <a:solidFill>
              <a:schemeClr val="bg2">
                <a:lumMod val="40000"/>
                <a:lumOff val="60000"/>
              </a:schemeClr>
            </a:solidFill>
            <a:round/>
            <a:headEnd/>
            <a:tailEnd/>
          </a:ln>
        </p:spPr>
        <p:txBody>
          <a:bodyPr wrap="none" lIns="36000" tIns="36000" rIns="36000" bIns="36000" anchor="ctr">
            <a:prstTxWarp prst="textNoShape">
              <a:avLst/>
            </a:prstTxWarp>
          </a:bodyPr>
          <a:lstStyle/>
          <a:p>
            <a:endParaRPr lang="en-GB" dirty="0">
              <a:solidFill>
                <a:srgbClr val="FFFFFF"/>
              </a:solidFill>
              <a:latin typeface="Garamond"/>
            </a:endParaRPr>
          </a:p>
        </p:txBody>
      </p:sp>
      <p:sp>
        <p:nvSpPr>
          <p:cNvPr id="78" name="Freeform 39"/>
          <p:cNvSpPr>
            <a:spLocks/>
          </p:cNvSpPr>
          <p:nvPr/>
        </p:nvSpPr>
        <p:spPr bwMode="auto">
          <a:xfrm rot="4145643">
            <a:off x="6685598" y="3280817"/>
            <a:ext cx="230502" cy="212463"/>
          </a:xfrm>
          <a:custGeom>
            <a:avLst/>
            <a:gdLst>
              <a:gd name="T0" fmla="*/ 165 w 165"/>
              <a:gd name="T1" fmla="*/ 152 h 152"/>
              <a:gd name="T2" fmla="*/ 150 w 165"/>
              <a:gd name="T3" fmla="*/ 0 h 152"/>
              <a:gd name="T4" fmla="*/ 13 w 165"/>
              <a:gd name="T5" fmla="*/ 0 h 152"/>
              <a:gd name="T6" fmla="*/ 0 w 165"/>
              <a:gd name="T7" fmla="*/ 152 h 152"/>
              <a:gd name="T8" fmla="*/ 0 60000 65536"/>
              <a:gd name="T9" fmla="*/ 0 60000 65536"/>
              <a:gd name="T10" fmla="*/ 0 60000 65536"/>
              <a:gd name="T11" fmla="*/ 0 60000 65536"/>
              <a:gd name="T12" fmla="*/ 0 w 165"/>
              <a:gd name="T13" fmla="*/ 0 h 152"/>
              <a:gd name="T14" fmla="*/ 165 w 165"/>
              <a:gd name="T15" fmla="*/ 152 h 152"/>
            </a:gdLst>
            <a:ahLst/>
            <a:cxnLst>
              <a:cxn ang="T8">
                <a:pos x="T0" y="T1"/>
              </a:cxn>
              <a:cxn ang="T9">
                <a:pos x="T2" y="T3"/>
              </a:cxn>
              <a:cxn ang="T10">
                <a:pos x="T4" y="T5"/>
              </a:cxn>
              <a:cxn ang="T11">
                <a:pos x="T6" y="T7"/>
              </a:cxn>
            </a:cxnLst>
            <a:rect l="T12" t="T13" r="T14" b="T15"/>
            <a:pathLst>
              <a:path w="165" h="152">
                <a:moveTo>
                  <a:pt x="165" y="152"/>
                </a:moveTo>
                <a:lnTo>
                  <a:pt x="150" y="0"/>
                </a:lnTo>
                <a:lnTo>
                  <a:pt x="13" y="0"/>
                </a:lnTo>
                <a:lnTo>
                  <a:pt x="0" y="152"/>
                </a:lnTo>
              </a:path>
            </a:pathLst>
          </a:custGeom>
          <a:solidFill>
            <a:srgbClr val="4F81BD"/>
          </a:solidFill>
          <a:ln w="12700">
            <a:solidFill>
              <a:schemeClr val="bg2">
                <a:lumMod val="40000"/>
                <a:lumOff val="60000"/>
              </a:schemeClr>
            </a:solidFill>
            <a:round/>
            <a:headEnd/>
            <a:tailEnd/>
          </a:ln>
        </p:spPr>
        <p:txBody>
          <a:bodyPr wrap="none" lIns="36000" tIns="36000" rIns="36000" bIns="36000" anchor="ctr">
            <a:prstTxWarp prst="textNoShape">
              <a:avLst/>
            </a:prstTxWarp>
          </a:bodyPr>
          <a:lstStyle/>
          <a:p>
            <a:endParaRPr lang="en-GB" dirty="0">
              <a:solidFill>
                <a:srgbClr val="FFFFFF"/>
              </a:solidFill>
              <a:latin typeface="Garamond"/>
            </a:endParaRPr>
          </a:p>
        </p:txBody>
      </p:sp>
      <p:sp>
        <p:nvSpPr>
          <p:cNvPr id="79" name="Oval 40"/>
          <p:cNvSpPr>
            <a:spLocks noChangeArrowheads="1"/>
          </p:cNvSpPr>
          <p:nvPr/>
        </p:nvSpPr>
        <p:spPr bwMode="auto">
          <a:xfrm>
            <a:off x="4741220" y="2772376"/>
            <a:ext cx="2035168" cy="2034006"/>
          </a:xfrm>
          <a:prstGeom prst="ellipse">
            <a:avLst/>
          </a:prstGeom>
          <a:solidFill>
            <a:srgbClr val="4F81BD"/>
          </a:solidFill>
          <a:ln w="12700">
            <a:solidFill>
              <a:schemeClr val="accent1"/>
            </a:solidFill>
            <a:round/>
            <a:headEnd/>
            <a:tailEnd/>
          </a:ln>
        </p:spPr>
        <p:txBody>
          <a:bodyPr wrap="none" lIns="36000" tIns="36000" rIns="36000" bIns="36000" anchor="ctr">
            <a:prstTxWarp prst="textNoShape">
              <a:avLst/>
            </a:prstTxWarp>
          </a:bodyPr>
          <a:lstStyle/>
          <a:p>
            <a:endParaRPr lang="en-GB" dirty="0">
              <a:solidFill>
                <a:srgbClr val="FFFFFF"/>
              </a:solidFill>
              <a:latin typeface="Garamond"/>
            </a:endParaRPr>
          </a:p>
        </p:txBody>
      </p:sp>
      <p:sp>
        <p:nvSpPr>
          <p:cNvPr id="80" name="Text Box 41"/>
          <p:cNvSpPr txBox="1">
            <a:spLocks noChangeArrowheads="1"/>
          </p:cNvSpPr>
          <p:nvPr/>
        </p:nvSpPr>
        <p:spPr bwMode="auto">
          <a:xfrm>
            <a:off x="5471561" y="3609416"/>
            <a:ext cx="574485" cy="359931"/>
          </a:xfrm>
          <a:prstGeom prst="rect">
            <a:avLst/>
          </a:prstGeom>
          <a:solidFill>
            <a:srgbClr val="4F81BD"/>
          </a:solidFill>
          <a:ln w="6350">
            <a:noFill/>
            <a:miter lim="800000"/>
            <a:headEnd/>
            <a:tailEnd/>
          </a:ln>
        </p:spPr>
        <p:txBody>
          <a:bodyPr wrap="square" lIns="41065" tIns="41065" rIns="41065" bIns="41065" anchor="ctr">
            <a:prstTxWarp prst="textNoShape">
              <a:avLst/>
            </a:prstTxWarp>
            <a:spAutoFit/>
          </a:bodyPr>
          <a:lstStyle/>
          <a:p>
            <a:pPr algn="ctr">
              <a:spcBef>
                <a:spcPct val="0"/>
              </a:spcBef>
            </a:pPr>
            <a:r>
              <a:rPr lang="de-DE" dirty="0">
                <a:solidFill>
                  <a:srgbClr val="FFFFFF"/>
                </a:solidFill>
                <a:latin typeface="Garamond"/>
              </a:rPr>
              <a:t>Text</a:t>
            </a:r>
          </a:p>
        </p:txBody>
      </p:sp>
      <p:sp>
        <p:nvSpPr>
          <p:cNvPr id="52" name="Title 3"/>
          <p:cNvSpPr txBox="1">
            <a:spLocks/>
          </p:cNvSpPr>
          <p:nvPr>
            <p:custDataLst>
              <p:tags r:id="rId3"/>
            </p:custDataLst>
          </p:nvPr>
        </p:nvSpPr>
        <p:spPr>
          <a:xfrm>
            <a:off x="754204" y="5545148"/>
            <a:ext cx="6891495" cy="822961"/>
          </a:xfrm>
          <a:prstGeom prst="rect">
            <a:avLst/>
          </a:prstGeom>
        </p:spPr>
        <p:txBody>
          <a:bodyPr vert="horz" lIns="80133" tIns="40067" rIns="80133" bIns="40067" rtlCol="0" anchor="b" anchorCtr="0">
            <a:normAutofit/>
          </a:bodyPr>
          <a:lstStyle>
            <a:lvl1pPr algn="l" defTabSz="914239" rtl="0" eaLnBrk="1" latinLnBrk="0" hangingPunct="1">
              <a:spcBef>
                <a:spcPct val="0"/>
              </a:spcBef>
              <a:buNone/>
              <a:defRPr sz="2800" kern="1200">
                <a:solidFill>
                  <a:schemeClr val="accent1"/>
                </a:solidFill>
                <a:latin typeface="Garamond" pitchFamily="18" charset="0"/>
                <a:ea typeface="+mj-ea"/>
                <a:cs typeface="+mj-cs"/>
              </a:defRPr>
            </a:lvl1pPr>
          </a:lstStyle>
          <a:p>
            <a:r>
              <a:rPr lang="en-GB" sz="1200" dirty="0">
                <a:solidFill>
                  <a:schemeClr val="tx2"/>
                </a:solidFill>
              </a:rPr>
              <a:t>Footnotes and assumptions: list</a:t>
            </a:r>
          </a:p>
          <a:p>
            <a:r>
              <a:rPr lang="en-GB" sz="1200" dirty="0">
                <a:solidFill>
                  <a:schemeClr val="tx2"/>
                </a:solidFill>
              </a:rPr>
              <a:t>Source: List sources</a:t>
            </a:r>
          </a:p>
        </p:txBody>
      </p:sp>
      <p:sp>
        <p:nvSpPr>
          <p:cNvPr id="53" name="Rectangle 4"/>
          <p:cNvSpPr>
            <a:spLocks noGrp="1" noChangeArrowheads="1"/>
          </p:cNvSpPr>
          <p:nvPr>
            <p:ph type="title"/>
            <p:custDataLst>
              <p:tags r:id="rId4"/>
            </p:custDataLst>
          </p:nvPr>
        </p:nvSpPr>
        <p:spPr/>
        <p:txBody>
          <a:bodyPr/>
          <a:lstStyle/>
          <a:p>
            <a:r>
              <a:rPr lang="en-GB" dirty="0" smtClean="0"/>
              <a:t>Message title – </a:t>
            </a:r>
            <a:r>
              <a:rPr lang="en-US" dirty="0" smtClean="0"/>
              <a:t>why are you showing it? cogs</a:t>
            </a:r>
            <a:endParaRPr lang="en-GB" dirty="0"/>
          </a:p>
        </p:txBody>
      </p:sp>
      <p:sp>
        <p:nvSpPr>
          <p:cNvPr id="5" name="Footer Placeholder 4"/>
          <p:cNvSpPr>
            <a:spLocks noGrp="1"/>
          </p:cNvSpPr>
          <p:nvPr>
            <p:ph type="ftr" sz="quarter" idx="3"/>
          </p:nvPr>
        </p:nvSpPr>
        <p:spPr/>
        <p:txBody>
          <a:bodyPr/>
          <a:lstStyle/>
          <a:p>
            <a:r>
              <a:rPr lang="en-US" dirty="0" smtClean="0"/>
              <a:t>neil young |neil@ogcommunicationdesign.com |www.ogcommunicationdesign.com</a:t>
            </a:r>
            <a:endParaRPr lang="en-US" dirty="0"/>
          </a:p>
        </p:txBody>
      </p:sp>
      <p:sp>
        <p:nvSpPr>
          <p:cNvPr id="56" name="Slide Number Placeholder 1"/>
          <p:cNvSpPr>
            <a:spLocks noGrp="1"/>
          </p:cNvSpPr>
          <p:nvPr>
            <p:ph type="sldNum" sz="quarter" idx="4"/>
            <p:custDataLst>
              <p:tags r:id="rId5"/>
            </p:custDataLst>
          </p:nvPr>
        </p:nvSpPr>
        <p:spPr/>
        <p:txBody>
          <a:bodyPr/>
          <a:lstStyle/>
          <a:p>
            <a:fld id="{9EA32989-03B0-4860-BCBF-38A6D1811E33}" type="slidenum">
              <a:rPr lang="en-GB" smtClean="0"/>
              <a:pPr/>
              <a:t>22</a:t>
            </a:fld>
            <a:endParaRPr lang="en-GB" dirty="0"/>
          </a:p>
        </p:txBody>
      </p:sp>
      <p:sp>
        <p:nvSpPr>
          <p:cNvPr id="50" name="TextBox 49"/>
          <p:cNvSpPr txBox="1"/>
          <p:nvPr>
            <p:custDataLst>
              <p:tags r:id="rId6"/>
            </p:custDataLst>
          </p:nvPr>
        </p:nvSpPr>
        <p:spPr>
          <a:xfrm>
            <a:off x="755338" y="1481982"/>
            <a:ext cx="7606753" cy="362896"/>
          </a:xfrm>
          <a:prstGeom prst="rect">
            <a:avLst/>
          </a:prstGeom>
          <a:noFill/>
        </p:spPr>
        <p:txBody>
          <a:bodyPr wrap="square" lIns="80147" tIns="40074" rIns="80147" bIns="40074" rtlCol="0">
            <a:spAutoFit/>
          </a:bodyPr>
          <a:lstStyle/>
          <a:p>
            <a:r>
              <a:rPr lang="en-ZW" dirty="0">
                <a:latin typeface="Garamond" pitchFamily="18" charset="0"/>
              </a:rPr>
              <a:t>Title – what are you showing on this page?</a:t>
            </a:r>
          </a:p>
        </p:txBody>
      </p:sp>
    </p:spTree>
    <p:extLst>
      <p:ext uri="{BB962C8B-B14F-4D97-AF65-F5344CB8AC3E}">
        <p14:creationId xmlns:p14="http://schemas.microsoft.com/office/powerpoint/2010/main" val="127169332"/>
      </p:ext>
    </p:extLst>
  </p:cSld>
  <p:clrMapOvr>
    <a:masterClrMapping/>
  </p:clrMapOvr>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5373143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09" name="think-cell Slide" r:id="rId8" imgW="6350000" imgH="6350000" progId="TCLayout.ActiveDocument.1">
                  <p:embed/>
                </p:oleObj>
              </mc:Choice>
              <mc:Fallback>
                <p:oleObj name="think-cell Slide" r:id="rId8" imgW="6350000" imgH="6350000" progId="TCLayout.ActiveDocument.1">
                  <p:embed/>
                  <p:pic>
                    <p:nvPicPr>
                      <p:cNvPr id="0" name="Picture 10"/>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Rectangle 3"/>
          <p:cNvSpPr>
            <a:spLocks noChangeArrowheads="1"/>
          </p:cNvSpPr>
          <p:nvPr/>
        </p:nvSpPr>
        <p:spPr bwMode="auto">
          <a:xfrm>
            <a:off x="3054208" y="2842863"/>
            <a:ext cx="413154" cy="2334440"/>
          </a:xfrm>
          <a:prstGeom prst="rect">
            <a:avLst/>
          </a:prstGeom>
          <a:solidFill>
            <a:schemeClr val="tx2"/>
          </a:solidFill>
          <a:ln w="9525" cap="rnd" cmpd="sng">
            <a:solidFill>
              <a:schemeClr val="bg1"/>
            </a:solidFill>
            <a:prstDash val="solid"/>
            <a:round/>
            <a:headEnd type="none" w="sm" len="sm"/>
            <a:tailEnd type="none" w="sm" len="sm"/>
          </a:ln>
          <a:effectLst/>
        </p:spPr>
        <p:txBody>
          <a:bodyPr anchor="ctr" anchorCtr="0">
            <a:prstTxWarp prst="textNoShape">
              <a:avLst/>
            </a:prstTxWarp>
          </a:bodyPr>
          <a:lstStyle/>
          <a:p>
            <a:endParaRPr lang="en-GB" sz="1600" dirty="0">
              <a:solidFill>
                <a:srgbClr val="FFFFFF"/>
              </a:solidFill>
              <a:latin typeface="Garamond"/>
            </a:endParaRPr>
          </a:p>
        </p:txBody>
      </p:sp>
      <p:sp>
        <p:nvSpPr>
          <p:cNvPr id="24" name="Rectangle 4"/>
          <p:cNvSpPr>
            <a:spLocks noChangeArrowheads="1"/>
          </p:cNvSpPr>
          <p:nvPr/>
        </p:nvSpPr>
        <p:spPr bwMode="auto">
          <a:xfrm rot="16200000">
            <a:off x="3041721" y="2911234"/>
            <a:ext cx="436575" cy="2199345"/>
          </a:xfrm>
          <a:prstGeom prst="rect">
            <a:avLst/>
          </a:prstGeom>
          <a:solidFill>
            <a:schemeClr val="tx2"/>
          </a:solidFill>
          <a:ln w="9525" cap="rnd" cmpd="sng">
            <a:solidFill>
              <a:schemeClr val="bg1"/>
            </a:solidFill>
            <a:prstDash val="solid"/>
            <a:round/>
            <a:headEnd type="none" w="sm" len="sm"/>
            <a:tailEnd type="none" w="sm" len="sm"/>
          </a:ln>
          <a:effectLst/>
        </p:spPr>
        <p:txBody>
          <a:bodyPr anchor="ctr" anchorCtr="0">
            <a:prstTxWarp prst="textNoShape">
              <a:avLst/>
            </a:prstTxWarp>
          </a:bodyPr>
          <a:lstStyle/>
          <a:p>
            <a:endParaRPr lang="en-GB" sz="1600" dirty="0">
              <a:solidFill>
                <a:srgbClr val="FFFFFF"/>
              </a:solidFill>
              <a:latin typeface="Garamond"/>
            </a:endParaRPr>
          </a:p>
        </p:txBody>
      </p:sp>
      <p:sp>
        <p:nvSpPr>
          <p:cNvPr id="25" name="Rectangle 5"/>
          <p:cNvSpPr>
            <a:spLocks noChangeArrowheads="1"/>
          </p:cNvSpPr>
          <p:nvPr/>
        </p:nvSpPr>
        <p:spPr bwMode="auto">
          <a:xfrm rot="18573363">
            <a:off x="3041721" y="2911234"/>
            <a:ext cx="436575" cy="2199345"/>
          </a:xfrm>
          <a:prstGeom prst="rect">
            <a:avLst/>
          </a:prstGeom>
          <a:solidFill>
            <a:schemeClr val="tx2"/>
          </a:solidFill>
          <a:ln w="9525" cap="rnd" cmpd="sng">
            <a:solidFill>
              <a:schemeClr val="bg1"/>
            </a:solidFill>
            <a:prstDash val="solid"/>
            <a:round/>
            <a:headEnd type="none" w="sm" len="sm"/>
            <a:tailEnd type="none" w="sm" len="sm"/>
          </a:ln>
          <a:effectLst/>
        </p:spPr>
        <p:txBody>
          <a:bodyPr anchor="ctr" anchorCtr="0">
            <a:prstTxWarp prst="textNoShape">
              <a:avLst/>
            </a:prstTxWarp>
          </a:bodyPr>
          <a:lstStyle/>
          <a:p>
            <a:endParaRPr lang="en-GB" sz="1600" dirty="0">
              <a:solidFill>
                <a:srgbClr val="FFFFFF"/>
              </a:solidFill>
              <a:latin typeface="Garamond"/>
            </a:endParaRPr>
          </a:p>
        </p:txBody>
      </p:sp>
      <p:sp>
        <p:nvSpPr>
          <p:cNvPr id="26" name="Rectangle 6"/>
          <p:cNvSpPr>
            <a:spLocks noChangeArrowheads="1"/>
          </p:cNvSpPr>
          <p:nvPr/>
        </p:nvSpPr>
        <p:spPr bwMode="auto">
          <a:xfrm rot="2373363">
            <a:off x="3054208" y="2842863"/>
            <a:ext cx="413154" cy="2334440"/>
          </a:xfrm>
          <a:prstGeom prst="rect">
            <a:avLst/>
          </a:prstGeom>
          <a:solidFill>
            <a:schemeClr val="tx2"/>
          </a:solidFill>
          <a:ln w="9525" cap="rnd" cmpd="sng">
            <a:solidFill>
              <a:schemeClr val="bg1"/>
            </a:solidFill>
            <a:prstDash val="solid"/>
            <a:round/>
            <a:headEnd type="none" w="sm" len="sm"/>
            <a:tailEnd type="none" w="sm" len="sm"/>
          </a:ln>
          <a:effectLst/>
        </p:spPr>
        <p:txBody>
          <a:bodyPr anchor="ctr" anchorCtr="0">
            <a:prstTxWarp prst="textNoShape">
              <a:avLst/>
            </a:prstTxWarp>
          </a:bodyPr>
          <a:lstStyle/>
          <a:p>
            <a:endParaRPr lang="en-GB" sz="1600" dirty="0">
              <a:solidFill>
                <a:srgbClr val="FFFFFF"/>
              </a:solidFill>
              <a:latin typeface="Garamond"/>
            </a:endParaRPr>
          </a:p>
        </p:txBody>
      </p:sp>
      <p:sp>
        <p:nvSpPr>
          <p:cNvPr id="27" name="Oval 7"/>
          <p:cNvSpPr>
            <a:spLocks noChangeArrowheads="1"/>
          </p:cNvSpPr>
          <p:nvPr/>
        </p:nvSpPr>
        <p:spPr bwMode="auto">
          <a:xfrm>
            <a:off x="2436030" y="3134462"/>
            <a:ext cx="1649509" cy="1751242"/>
          </a:xfrm>
          <a:prstGeom prst="ellipse">
            <a:avLst/>
          </a:prstGeom>
          <a:solidFill>
            <a:schemeClr val="tx2"/>
          </a:solidFill>
          <a:ln w="9525" cap="rnd" cmpd="sng">
            <a:solidFill>
              <a:schemeClr val="tx2"/>
            </a:solidFill>
            <a:prstDash val="solid"/>
            <a:round/>
            <a:headEnd type="none" w="sm" len="sm"/>
            <a:tailEnd type="none" w="sm" len="sm"/>
          </a:ln>
          <a:effectLst/>
        </p:spPr>
        <p:txBody>
          <a:bodyPr anchor="ctr" anchorCtr="0">
            <a:prstTxWarp prst="textNoShape">
              <a:avLst/>
            </a:prstTxWarp>
          </a:bodyPr>
          <a:lstStyle/>
          <a:p>
            <a:endParaRPr lang="en-GB" sz="1600" dirty="0">
              <a:solidFill>
                <a:srgbClr val="FFFFFF"/>
              </a:solidFill>
              <a:latin typeface="Garamond"/>
            </a:endParaRPr>
          </a:p>
        </p:txBody>
      </p:sp>
      <p:sp>
        <p:nvSpPr>
          <p:cNvPr id="28" name="Oval 8"/>
          <p:cNvSpPr>
            <a:spLocks noChangeArrowheads="1"/>
          </p:cNvSpPr>
          <p:nvPr/>
        </p:nvSpPr>
        <p:spPr bwMode="auto">
          <a:xfrm>
            <a:off x="2995186" y="3727545"/>
            <a:ext cx="531198" cy="565076"/>
          </a:xfrm>
          <a:prstGeom prst="ellipse">
            <a:avLst/>
          </a:prstGeom>
          <a:solidFill>
            <a:schemeClr val="bg1"/>
          </a:solidFill>
          <a:ln w="12700">
            <a:noFill/>
            <a:round/>
            <a:headEnd/>
            <a:tailEnd/>
          </a:ln>
        </p:spPr>
        <p:txBody>
          <a:bodyPr wrap="square" lIns="0" tIns="0" rIns="0" bIns="0" anchor="ctr">
            <a:prstTxWarp prst="textNoShape">
              <a:avLst/>
            </a:prstTxWarp>
            <a:noAutofit/>
          </a:bodyPr>
          <a:lstStyle/>
          <a:p>
            <a:endParaRPr lang="en-GB" dirty="0">
              <a:latin typeface="Garamond"/>
            </a:endParaRPr>
          </a:p>
        </p:txBody>
      </p:sp>
      <p:sp>
        <p:nvSpPr>
          <p:cNvPr id="29" name="Rectangle 9"/>
          <p:cNvSpPr>
            <a:spLocks noChangeArrowheads="1"/>
          </p:cNvSpPr>
          <p:nvPr/>
        </p:nvSpPr>
        <p:spPr bwMode="auto">
          <a:xfrm>
            <a:off x="5034550" y="2323916"/>
            <a:ext cx="413154" cy="2334440"/>
          </a:xfrm>
          <a:prstGeom prst="rect">
            <a:avLst/>
          </a:prstGeom>
          <a:solidFill>
            <a:schemeClr val="tx2"/>
          </a:solidFill>
          <a:ln w="9525" cap="rnd" cmpd="sng">
            <a:solidFill>
              <a:schemeClr val="bg1"/>
            </a:solidFill>
            <a:prstDash val="solid"/>
            <a:round/>
            <a:headEnd type="none" w="sm" len="sm"/>
            <a:tailEnd type="none" w="sm" len="sm"/>
          </a:ln>
          <a:effectLst/>
        </p:spPr>
        <p:txBody>
          <a:bodyPr anchor="ctr" anchorCtr="0">
            <a:prstTxWarp prst="textNoShape">
              <a:avLst/>
            </a:prstTxWarp>
          </a:bodyPr>
          <a:lstStyle/>
          <a:p>
            <a:endParaRPr lang="en-GB" sz="1600" dirty="0">
              <a:solidFill>
                <a:srgbClr val="FFFFFF"/>
              </a:solidFill>
              <a:latin typeface="Garamond"/>
            </a:endParaRPr>
          </a:p>
        </p:txBody>
      </p:sp>
      <p:sp>
        <p:nvSpPr>
          <p:cNvPr id="30" name="Rectangle 10"/>
          <p:cNvSpPr>
            <a:spLocks noChangeArrowheads="1"/>
          </p:cNvSpPr>
          <p:nvPr/>
        </p:nvSpPr>
        <p:spPr bwMode="auto">
          <a:xfrm rot="16200000">
            <a:off x="5022063" y="2392287"/>
            <a:ext cx="436575" cy="2199345"/>
          </a:xfrm>
          <a:prstGeom prst="rect">
            <a:avLst/>
          </a:prstGeom>
          <a:solidFill>
            <a:schemeClr val="tx2"/>
          </a:solidFill>
          <a:ln w="9525" cap="rnd" cmpd="sng">
            <a:solidFill>
              <a:schemeClr val="bg1"/>
            </a:solidFill>
            <a:prstDash val="solid"/>
            <a:round/>
            <a:headEnd type="none" w="sm" len="sm"/>
            <a:tailEnd type="none" w="sm" len="sm"/>
          </a:ln>
          <a:effectLst/>
        </p:spPr>
        <p:txBody>
          <a:bodyPr anchor="ctr" anchorCtr="0">
            <a:prstTxWarp prst="textNoShape">
              <a:avLst/>
            </a:prstTxWarp>
          </a:bodyPr>
          <a:lstStyle/>
          <a:p>
            <a:endParaRPr lang="en-GB" sz="1600" dirty="0">
              <a:solidFill>
                <a:srgbClr val="FFFFFF"/>
              </a:solidFill>
              <a:latin typeface="Garamond"/>
            </a:endParaRPr>
          </a:p>
        </p:txBody>
      </p:sp>
      <p:sp>
        <p:nvSpPr>
          <p:cNvPr id="31" name="Rectangle 11"/>
          <p:cNvSpPr>
            <a:spLocks noChangeArrowheads="1"/>
          </p:cNvSpPr>
          <p:nvPr/>
        </p:nvSpPr>
        <p:spPr bwMode="auto">
          <a:xfrm rot="18573363">
            <a:off x="5022063" y="2392287"/>
            <a:ext cx="436575" cy="2199345"/>
          </a:xfrm>
          <a:prstGeom prst="rect">
            <a:avLst/>
          </a:prstGeom>
          <a:solidFill>
            <a:schemeClr val="tx2"/>
          </a:solidFill>
          <a:ln w="9525" cap="rnd" cmpd="sng">
            <a:solidFill>
              <a:schemeClr val="bg1"/>
            </a:solidFill>
            <a:prstDash val="solid"/>
            <a:round/>
            <a:headEnd type="none" w="sm" len="sm"/>
            <a:tailEnd type="none" w="sm" len="sm"/>
          </a:ln>
          <a:effectLst/>
        </p:spPr>
        <p:txBody>
          <a:bodyPr anchor="ctr" anchorCtr="0">
            <a:prstTxWarp prst="textNoShape">
              <a:avLst/>
            </a:prstTxWarp>
          </a:bodyPr>
          <a:lstStyle/>
          <a:p>
            <a:endParaRPr lang="en-GB" sz="1600" dirty="0">
              <a:solidFill>
                <a:srgbClr val="FFFFFF"/>
              </a:solidFill>
              <a:latin typeface="Garamond"/>
            </a:endParaRPr>
          </a:p>
        </p:txBody>
      </p:sp>
      <p:sp>
        <p:nvSpPr>
          <p:cNvPr id="32" name="Rectangle 12"/>
          <p:cNvSpPr>
            <a:spLocks noChangeArrowheads="1"/>
          </p:cNvSpPr>
          <p:nvPr/>
        </p:nvSpPr>
        <p:spPr bwMode="auto">
          <a:xfrm rot="2373363">
            <a:off x="5034550" y="2323916"/>
            <a:ext cx="413154" cy="2334440"/>
          </a:xfrm>
          <a:prstGeom prst="rect">
            <a:avLst/>
          </a:prstGeom>
          <a:solidFill>
            <a:schemeClr val="tx2"/>
          </a:solidFill>
          <a:ln w="9525" cap="rnd" cmpd="sng">
            <a:solidFill>
              <a:schemeClr val="bg1"/>
            </a:solidFill>
            <a:prstDash val="solid"/>
            <a:round/>
            <a:headEnd type="none" w="sm" len="sm"/>
            <a:tailEnd type="none" w="sm" len="sm"/>
          </a:ln>
          <a:effectLst/>
        </p:spPr>
        <p:txBody>
          <a:bodyPr anchor="ctr" anchorCtr="0">
            <a:prstTxWarp prst="textNoShape">
              <a:avLst/>
            </a:prstTxWarp>
          </a:bodyPr>
          <a:lstStyle/>
          <a:p>
            <a:endParaRPr lang="en-GB" sz="1600" dirty="0">
              <a:solidFill>
                <a:srgbClr val="FFFFFF"/>
              </a:solidFill>
              <a:latin typeface="Garamond"/>
            </a:endParaRPr>
          </a:p>
        </p:txBody>
      </p:sp>
      <p:sp>
        <p:nvSpPr>
          <p:cNvPr id="33" name="Oval 13"/>
          <p:cNvSpPr>
            <a:spLocks noChangeArrowheads="1"/>
          </p:cNvSpPr>
          <p:nvPr/>
        </p:nvSpPr>
        <p:spPr bwMode="auto">
          <a:xfrm>
            <a:off x="4416373" y="2615515"/>
            <a:ext cx="1649509" cy="1751242"/>
          </a:xfrm>
          <a:prstGeom prst="ellipse">
            <a:avLst/>
          </a:prstGeom>
          <a:solidFill>
            <a:schemeClr val="tx2"/>
          </a:solidFill>
          <a:ln w="9525" cap="rnd" cmpd="sng">
            <a:solidFill>
              <a:schemeClr val="tx2"/>
            </a:solidFill>
            <a:prstDash val="solid"/>
            <a:round/>
            <a:headEnd type="none" w="sm" len="sm"/>
            <a:tailEnd type="none" w="sm" len="sm"/>
          </a:ln>
          <a:effectLst/>
        </p:spPr>
        <p:txBody>
          <a:bodyPr anchor="ctr" anchorCtr="0">
            <a:prstTxWarp prst="textNoShape">
              <a:avLst/>
            </a:prstTxWarp>
          </a:bodyPr>
          <a:lstStyle/>
          <a:p>
            <a:endParaRPr lang="en-GB" sz="1600" dirty="0">
              <a:solidFill>
                <a:srgbClr val="FFFFFF"/>
              </a:solidFill>
              <a:latin typeface="Garamond"/>
            </a:endParaRPr>
          </a:p>
        </p:txBody>
      </p:sp>
      <p:sp>
        <p:nvSpPr>
          <p:cNvPr id="34" name="Oval 14"/>
          <p:cNvSpPr>
            <a:spLocks noChangeArrowheads="1"/>
          </p:cNvSpPr>
          <p:nvPr/>
        </p:nvSpPr>
        <p:spPr bwMode="auto">
          <a:xfrm>
            <a:off x="4975528" y="3208598"/>
            <a:ext cx="531198" cy="565076"/>
          </a:xfrm>
          <a:prstGeom prst="ellipse">
            <a:avLst/>
          </a:prstGeom>
          <a:solidFill>
            <a:schemeClr val="bg1"/>
          </a:solidFill>
          <a:ln w="12700">
            <a:noFill/>
            <a:round/>
            <a:headEnd/>
            <a:tailEnd/>
          </a:ln>
        </p:spPr>
        <p:txBody>
          <a:bodyPr wrap="square" lIns="0" tIns="0" rIns="0" bIns="0" anchor="ctr">
            <a:prstTxWarp prst="textNoShape">
              <a:avLst/>
            </a:prstTxWarp>
            <a:noAutofit/>
          </a:bodyPr>
          <a:lstStyle/>
          <a:p>
            <a:endParaRPr lang="en-GB" dirty="0">
              <a:latin typeface="Garamond"/>
            </a:endParaRPr>
          </a:p>
        </p:txBody>
      </p:sp>
      <p:sp>
        <p:nvSpPr>
          <p:cNvPr id="35" name="Title 3"/>
          <p:cNvSpPr txBox="1">
            <a:spLocks/>
          </p:cNvSpPr>
          <p:nvPr>
            <p:custDataLst>
              <p:tags r:id="rId3"/>
            </p:custDataLst>
          </p:nvPr>
        </p:nvSpPr>
        <p:spPr>
          <a:xfrm>
            <a:off x="754204" y="5545148"/>
            <a:ext cx="6891495" cy="822961"/>
          </a:xfrm>
          <a:prstGeom prst="rect">
            <a:avLst/>
          </a:prstGeom>
        </p:spPr>
        <p:txBody>
          <a:bodyPr vert="horz" lIns="80133" tIns="40067" rIns="80133" bIns="40067" rtlCol="0" anchor="b" anchorCtr="0">
            <a:normAutofit/>
          </a:bodyPr>
          <a:lstStyle>
            <a:lvl1pPr algn="l" defTabSz="914239" rtl="0" eaLnBrk="1" latinLnBrk="0" hangingPunct="1">
              <a:spcBef>
                <a:spcPct val="0"/>
              </a:spcBef>
              <a:buNone/>
              <a:defRPr sz="2800" kern="1200">
                <a:solidFill>
                  <a:schemeClr val="accent1"/>
                </a:solidFill>
                <a:latin typeface="Garamond" pitchFamily="18" charset="0"/>
                <a:ea typeface="+mj-ea"/>
                <a:cs typeface="+mj-cs"/>
              </a:defRPr>
            </a:lvl1pPr>
          </a:lstStyle>
          <a:p>
            <a:r>
              <a:rPr lang="en-GB" sz="1200" dirty="0">
                <a:solidFill>
                  <a:schemeClr val="tx2"/>
                </a:solidFill>
              </a:rPr>
              <a:t>Footnotes and assumptions: list</a:t>
            </a:r>
          </a:p>
          <a:p>
            <a:r>
              <a:rPr lang="en-GB" sz="1200" dirty="0">
                <a:solidFill>
                  <a:schemeClr val="tx2"/>
                </a:solidFill>
              </a:rPr>
              <a:t>Source: List sources</a:t>
            </a:r>
          </a:p>
        </p:txBody>
      </p:sp>
      <p:sp>
        <p:nvSpPr>
          <p:cNvPr id="36" name="Rectangle 4"/>
          <p:cNvSpPr>
            <a:spLocks noGrp="1" noChangeArrowheads="1"/>
          </p:cNvSpPr>
          <p:nvPr>
            <p:ph type="title"/>
            <p:custDataLst>
              <p:tags r:id="rId4"/>
            </p:custDataLst>
          </p:nvPr>
        </p:nvSpPr>
        <p:spPr/>
        <p:txBody>
          <a:bodyPr/>
          <a:lstStyle/>
          <a:p>
            <a:r>
              <a:rPr lang="en-GB" dirty="0" smtClean="0"/>
              <a:t>Message title – </a:t>
            </a:r>
            <a:r>
              <a:rPr lang="en-US" dirty="0" smtClean="0"/>
              <a:t>why are you showing it? cogs</a:t>
            </a:r>
            <a:endParaRPr lang="en-GB" dirty="0"/>
          </a:p>
        </p:txBody>
      </p:sp>
      <p:sp>
        <p:nvSpPr>
          <p:cNvPr id="5" name="Footer Placeholder 4"/>
          <p:cNvSpPr>
            <a:spLocks noGrp="1"/>
          </p:cNvSpPr>
          <p:nvPr>
            <p:ph type="ftr" sz="quarter" idx="3"/>
          </p:nvPr>
        </p:nvSpPr>
        <p:spPr/>
        <p:txBody>
          <a:bodyPr/>
          <a:lstStyle/>
          <a:p>
            <a:r>
              <a:rPr lang="en-US" dirty="0" smtClean="0"/>
              <a:t>neil young |neil@ogcommunicationdesign.com |www.ogcommunicationdesign.com</a:t>
            </a:r>
            <a:endParaRPr lang="en-US" dirty="0"/>
          </a:p>
        </p:txBody>
      </p:sp>
      <p:sp>
        <p:nvSpPr>
          <p:cNvPr id="38" name="Slide Number Placeholder 1"/>
          <p:cNvSpPr>
            <a:spLocks noGrp="1"/>
          </p:cNvSpPr>
          <p:nvPr>
            <p:ph type="sldNum" sz="quarter" idx="4"/>
            <p:custDataLst>
              <p:tags r:id="rId5"/>
            </p:custDataLst>
          </p:nvPr>
        </p:nvSpPr>
        <p:spPr/>
        <p:txBody>
          <a:bodyPr/>
          <a:lstStyle/>
          <a:p>
            <a:fld id="{9EA32989-03B0-4860-BCBF-38A6D1811E33}" type="slidenum">
              <a:rPr lang="en-GB" smtClean="0"/>
              <a:pPr/>
              <a:t>23</a:t>
            </a:fld>
            <a:endParaRPr lang="en-GB" dirty="0"/>
          </a:p>
        </p:txBody>
      </p:sp>
      <p:sp>
        <p:nvSpPr>
          <p:cNvPr id="20" name="TextBox 19"/>
          <p:cNvSpPr txBox="1"/>
          <p:nvPr>
            <p:custDataLst>
              <p:tags r:id="rId6"/>
            </p:custDataLst>
          </p:nvPr>
        </p:nvSpPr>
        <p:spPr>
          <a:xfrm>
            <a:off x="755338" y="1481982"/>
            <a:ext cx="7606753" cy="362896"/>
          </a:xfrm>
          <a:prstGeom prst="rect">
            <a:avLst/>
          </a:prstGeom>
          <a:noFill/>
        </p:spPr>
        <p:txBody>
          <a:bodyPr wrap="square" lIns="80147" tIns="40074" rIns="80147" bIns="40074" rtlCol="0">
            <a:spAutoFit/>
          </a:bodyPr>
          <a:lstStyle/>
          <a:p>
            <a:r>
              <a:rPr lang="en-ZW" dirty="0">
                <a:latin typeface="Garamond" pitchFamily="18" charset="0"/>
              </a:rPr>
              <a:t>Title – what are you showing on this page?</a:t>
            </a:r>
          </a:p>
        </p:txBody>
      </p:sp>
    </p:spTree>
    <p:extLst>
      <p:ext uri="{BB962C8B-B14F-4D97-AF65-F5344CB8AC3E}">
        <p14:creationId xmlns:p14="http://schemas.microsoft.com/office/powerpoint/2010/main" val="127169332"/>
      </p:ext>
    </p:extLst>
  </p:cSld>
  <p:clrMapOvr>
    <a:masterClrMapping/>
  </p:clrMapOvr>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6764490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33" name="think-cell Slide" r:id="rId8" imgW="6350000" imgH="6350000" progId="TCLayout.ActiveDocument.1">
                  <p:embed/>
                </p:oleObj>
              </mc:Choice>
              <mc:Fallback>
                <p:oleObj name="think-cell Slide" r:id="rId8" imgW="6350000" imgH="6350000" progId="TCLayout.ActiveDocument.1">
                  <p:embed/>
                  <p:pic>
                    <p:nvPicPr>
                      <p:cNvPr id="0" name="Picture 10"/>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Line 4"/>
          <p:cNvSpPr>
            <a:spLocks noChangeShapeType="1"/>
          </p:cNvSpPr>
          <p:nvPr/>
        </p:nvSpPr>
        <p:spPr bwMode="auto">
          <a:xfrm flipV="1">
            <a:off x="1597719" y="4528726"/>
            <a:ext cx="5680075" cy="1017767"/>
          </a:xfrm>
          <a:prstGeom prst="line">
            <a:avLst/>
          </a:prstGeom>
          <a:solidFill>
            <a:srgbClr val="FAEEDF"/>
          </a:solidFill>
          <a:ln w="9525">
            <a:solidFill>
              <a:srgbClr val="1F497D"/>
            </a:solidFill>
            <a:round/>
            <a:headEnd/>
            <a:tailEnd/>
          </a:ln>
          <a:effectLst/>
        </p:spPr>
        <p:txBody>
          <a:bodyPr>
            <a:prstTxWarp prst="textNoShape">
              <a:avLst/>
            </a:prstTxWarp>
          </a:bodyPr>
          <a:lstStyle/>
          <a:p>
            <a:endParaRPr lang="en-GB" sz="1600" dirty="0">
              <a:solidFill>
                <a:schemeClr val="tx2"/>
              </a:solidFill>
              <a:latin typeface="Garamond"/>
            </a:endParaRPr>
          </a:p>
        </p:txBody>
      </p:sp>
      <p:sp>
        <p:nvSpPr>
          <p:cNvPr id="12" name="Line 5"/>
          <p:cNvSpPr>
            <a:spLocks noChangeShapeType="1"/>
          </p:cNvSpPr>
          <p:nvPr/>
        </p:nvSpPr>
        <p:spPr bwMode="auto">
          <a:xfrm>
            <a:off x="1597719" y="2869380"/>
            <a:ext cx="5680075" cy="1030650"/>
          </a:xfrm>
          <a:prstGeom prst="line">
            <a:avLst/>
          </a:prstGeom>
          <a:solidFill>
            <a:srgbClr val="FAEEDF"/>
          </a:solidFill>
          <a:ln w="9525">
            <a:solidFill>
              <a:srgbClr val="1F497D"/>
            </a:solidFill>
            <a:round/>
            <a:headEnd/>
            <a:tailEnd/>
          </a:ln>
          <a:effectLst/>
        </p:spPr>
        <p:txBody>
          <a:bodyPr>
            <a:prstTxWarp prst="textNoShape">
              <a:avLst/>
            </a:prstTxWarp>
          </a:bodyPr>
          <a:lstStyle/>
          <a:p>
            <a:endParaRPr lang="en-GB" sz="1600" dirty="0">
              <a:solidFill>
                <a:schemeClr val="tx2"/>
              </a:solidFill>
              <a:latin typeface="Garamond"/>
            </a:endParaRPr>
          </a:p>
        </p:txBody>
      </p:sp>
      <p:sp>
        <p:nvSpPr>
          <p:cNvPr id="13" name="Oval 6"/>
          <p:cNvSpPr>
            <a:spLocks noChangeArrowheads="1"/>
          </p:cNvSpPr>
          <p:nvPr/>
        </p:nvSpPr>
        <p:spPr bwMode="auto">
          <a:xfrm>
            <a:off x="1229419" y="2853920"/>
            <a:ext cx="625475" cy="2715762"/>
          </a:xfrm>
          <a:prstGeom prst="ellipse">
            <a:avLst/>
          </a:prstGeom>
          <a:solidFill>
            <a:schemeClr val="tx2"/>
          </a:solidFill>
          <a:ln w="9525" cap="rnd" cmpd="sng">
            <a:solidFill>
              <a:schemeClr val="bg1"/>
            </a:solidFill>
            <a:prstDash val="solid"/>
            <a:round/>
            <a:headEnd type="none" w="sm" len="sm"/>
            <a:tailEnd type="none" w="sm" len="sm"/>
          </a:ln>
          <a:effectLst/>
        </p:spPr>
        <p:txBody>
          <a:bodyPr anchor="ctr" anchorCtr="0">
            <a:prstTxWarp prst="textNoShape">
              <a:avLst/>
            </a:prstTxWarp>
          </a:bodyPr>
          <a:lstStyle/>
          <a:p>
            <a:endParaRPr lang="en-AU" sz="1600" dirty="0">
              <a:solidFill>
                <a:srgbClr val="FFFFFF"/>
              </a:solidFill>
              <a:latin typeface="Garamond"/>
            </a:endParaRPr>
          </a:p>
        </p:txBody>
      </p:sp>
      <p:sp>
        <p:nvSpPr>
          <p:cNvPr id="14" name="Oval 7"/>
          <p:cNvSpPr>
            <a:spLocks noChangeArrowheads="1"/>
          </p:cNvSpPr>
          <p:nvPr/>
        </p:nvSpPr>
        <p:spPr bwMode="auto">
          <a:xfrm>
            <a:off x="4421882" y="3418201"/>
            <a:ext cx="366713" cy="1597507"/>
          </a:xfrm>
          <a:prstGeom prst="ellipse">
            <a:avLst/>
          </a:prstGeom>
          <a:solidFill>
            <a:schemeClr val="tx2"/>
          </a:solidFill>
          <a:ln w="9525" cap="rnd" cmpd="sng">
            <a:solidFill>
              <a:schemeClr val="bg1"/>
            </a:solidFill>
            <a:prstDash val="solid"/>
            <a:round/>
            <a:headEnd type="none" w="sm" len="sm"/>
            <a:tailEnd type="none" w="sm" len="sm"/>
          </a:ln>
          <a:effectLst/>
        </p:spPr>
        <p:txBody>
          <a:bodyPr anchor="ctr" anchorCtr="0">
            <a:prstTxWarp prst="textNoShape">
              <a:avLst/>
            </a:prstTxWarp>
          </a:bodyPr>
          <a:lstStyle/>
          <a:p>
            <a:endParaRPr lang="en-AU" sz="1600" dirty="0">
              <a:solidFill>
                <a:srgbClr val="FFFFFF"/>
              </a:solidFill>
              <a:latin typeface="Garamond"/>
            </a:endParaRPr>
          </a:p>
        </p:txBody>
      </p:sp>
      <p:sp>
        <p:nvSpPr>
          <p:cNvPr id="15" name="Oval 8"/>
          <p:cNvSpPr>
            <a:spLocks noChangeArrowheads="1"/>
          </p:cNvSpPr>
          <p:nvPr/>
        </p:nvSpPr>
        <p:spPr bwMode="auto">
          <a:xfrm>
            <a:off x="2891532" y="3143790"/>
            <a:ext cx="492125" cy="2136022"/>
          </a:xfrm>
          <a:prstGeom prst="ellipse">
            <a:avLst/>
          </a:prstGeom>
          <a:solidFill>
            <a:schemeClr val="tx2"/>
          </a:solidFill>
          <a:ln w="9525" cap="rnd" cmpd="sng">
            <a:solidFill>
              <a:schemeClr val="bg1"/>
            </a:solidFill>
            <a:prstDash val="solid"/>
            <a:round/>
            <a:headEnd type="none" w="sm" len="sm"/>
            <a:tailEnd type="none" w="sm" len="sm"/>
          </a:ln>
          <a:effectLst/>
        </p:spPr>
        <p:txBody>
          <a:bodyPr anchor="ctr" anchorCtr="0">
            <a:prstTxWarp prst="textNoShape">
              <a:avLst/>
            </a:prstTxWarp>
          </a:bodyPr>
          <a:lstStyle/>
          <a:p>
            <a:endParaRPr lang="en-AU" sz="1600" dirty="0">
              <a:solidFill>
                <a:srgbClr val="FFFFFF"/>
              </a:solidFill>
              <a:latin typeface="Garamond"/>
            </a:endParaRPr>
          </a:p>
        </p:txBody>
      </p:sp>
      <p:sp>
        <p:nvSpPr>
          <p:cNvPr id="16" name="Oval 9"/>
          <p:cNvSpPr>
            <a:spLocks noChangeArrowheads="1"/>
          </p:cNvSpPr>
          <p:nvPr/>
        </p:nvSpPr>
        <p:spPr bwMode="auto">
          <a:xfrm>
            <a:off x="5845869" y="3655250"/>
            <a:ext cx="257175" cy="1113102"/>
          </a:xfrm>
          <a:prstGeom prst="ellipse">
            <a:avLst/>
          </a:prstGeom>
          <a:solidFill>
            <a:schemeClr val="tx2"/>
          </a:solidFill>
          <a:ln w="9525" cap="rnd" cmpd="sng">
            <a:solidFill>
              <a:schemeClr val="bg1"/>
            </a:solidFill>
            <a:prstDash val="solid"/>
            <a:round/>
            <a:headEnd type="none" w="sm" len="sm"/>
            <a:tailEnd type="none" w="sm" len="sm"/>
          </a:ln>
          <a:effectLst/>
        </p:spPr>
        <p:txBody>
          <a:bodyPr anchor="ctr" anchorCtr="0">
            <a:prstTxWarp prst="textNoShape">
              <a:avLst/>
            </a:prstTxWarp>
          </a:bodyPr>
          <a:lstStyle/>
          <a:p>
            <a:endParaRPr lang="en-AU" sz="1600" dirty="0">
              <a:solidFill>
                <a:srgbClr val="FFFFFF"/>
              </a:solidFill>
              <a:latin typeface="Garamond"/>
            </a:endParaRPr>
          </a:p>
        </p:txBody>
      </p:sp>
      <p:sp>
        <p:nvSpPr>
          <p:cNvPr id="17" name="Oval 10"/>
          <p:cNvSpPr>
            <a:spLocks noChangeArrowheads="1"/>
          </p:cNvSpPr>
          <p:nvPr/>
        </p:nvSpPr>
        <p:spPr bwMode="auto">
          <a:xfrm>
            <a:off x="7195244" y="3888435"/>
            <a:ext cx="149225" cy="646733"/>
          </a:xfrm>
          <a:prstGeom prst="ellipse">
            <a:avLst/>
          </a:prstGeom>
          <a:solidFill>
            <a:schemeClr val="tx2"/>
          </a:solidFill>
          <a:ln w="9525" cap="rnd" cmpd="sng">
            <a:solidFill>
              <a:schemeClr val="bg1"/>
            </a:solidFill>
            <a:prstDash val="solid"/>
            <a:round/>
            <a:headEnd type="none" w="sm" len="sm"/>
            <a:tailEnd type="none" w="sm" len="sm"/>
          </a:ln>
          <a:effectLst/>
        </p:spPr>
        <p:txBody>
          <a:bodyPr anchor="ctr" anchorCtr="0">
            <a:prstTxWarp prst="textNoShape">
              <a:avLst/>
            </a:prstTxWarp>
          </a:bodyPr>
          <a:lstStyle/>
          <a:p>
            <a:endParaRPr lang="en-AU" sz="1600" dirty="0">
              <a:solidFill>
                <a:srgbClr val="FFFFFF"/>
              </a:solidFill>
              <a:latin typeface="Garamond"/>
            </a:endParaRPr>
          </a:p>
        </p:txBody>
      </p:sp>
      <p:sp>
        <p:nvSpPr>
          <p:cNvPr id="18" name="Text Box 11"/>
          <p:cNvSpPr txBox="1">
            <a:spLocks noChangeArrowheads="1"/>
          </p:cNvSpPr>
          <p:nvPr/>
        </p:nvSpPr>
        <p:spPr bwMode="auto">
          <a:xfrm>
            <a:off x="2791519" y="2526961"/>
            <a:ext cx="1173162" cy="338554"/>
          </a:xfrm>
          <a:prstGeom prst="rect">
            <a:avLst/>
          </a:prstGeom>
          <a:noFill/>
          <a:ln w="9525">
            <a:noFill/>
            <a:miter lim="800000"/>
            <a:headEnd/>
            <a:tailEnd/>
          </a:ln>
          <a:effectLst/>
        </p:spPr>
        <p:txBody>
          <a:bodyPr wrap="square" anchor="b">
            <a:prstTxWarp prst="textNoShape">
              <a:avLst/>
            </a:prstTxWarp>
            <a:spAutoFit/>
          </a:bodyPr>
          <a:lstStyle/>
          <a:p>
            <a:r>
              <a:rPr lang="nb-NO" sz="1600" dirty="0">
                <a:solidFill>
                  <a:schemeClr val="tx2"/>
                </a:solidFill>
                <a:latin typeface="Garamond"/>
              </a:rPr>
              <a:t>Text</a:t>
            </a:r>
            <a:endParaRPr lang="en-US" sz="1600" dirty="0">
              <a:solidFill>
                <a:schemeClr val="tx2"/>
              </a:solidFill>
              <a:latin typeface="Garamond"/>
            </a:endParaRPr>
          </a:p>
        </p:txBody>
      </p:sp>
      <p:sp>
        <p:nvSpPr>
          <p:cNvPr id="19" name="Text Box 12"/>
          <p:cNvSpPr txBox="1">
            <a:spLocks noChangeArrowheads="1"/>
          </p:cNvSpPr>
          <p:nvPr/>
        </p:nvSpPr>
        <p:spPr bwMode="auto">
          <a:xfrm>
            <a:off x="4182169" y="2526961"/>
            <a:ext cx="1173162" cy="338554"/>
          </a:xfrm>
          <a:prstGeom prst="rect">
            <a:avLst/>
          </a:prstGeom>
          <a:noFill/>
          <a:ln w="9525">
            <a:noFill/>
            <a:miter lim="800000"/>
            <a:headEnd/>
            <a:tailEnd/>
          </a:ln>
          <a:effectLst/>
        </p:spPr>
        <p:txBody>
          <a:bodyPr wrap="square" anchor="b">
            <a:prstTxWarp prst="textNoShape">
              <a:avLst/>
            </a:prstTxWarp>
            <a:spAutoFit/>
          </a:bodyPr>
          <a:lstStyle/>
          <a:p>
            <a:r>
              <a:rPr lang="nb-NO" sz="1600" dirty="0">
                <a:solidFill>
                  <a:schemeClr val="tx2"/>
                </a:solidFill>
                <a:latin typeface="Garamond"/>
              </a:rPr>
              <a:t>Text</a:t>
            </a:r>
            <a:endParaRPr lang="en-US" sz="1600" dirty="0">
              <a:solidFill>
                <a:schemeClr val="tx2"/>
              </a:solidFill>
              <a:latin typeface="Garamond"/>
            </a:endParaRPr>
          </a:p>
        </p:txBody>
      </p:sp>
      <p:sp>
        <p:nvSpPr>
          <p:cNvPr id="20" name="Text Box 13"/>
          <p:cNvSpPr txBox="1">
            <a:spLocks noChangeArrowheads="1"/>
          </p:cNvSpPr>
          <p:nvPr/>
        </p:nvSpPr>
        <p:spPr bwMode="auto">
          <a:xfrm>
            <a:off x="5534719" y="2526961"/>
            <a:ext cx="1173162" cy="338554"/>
          </a:xfrm>
          <a:prstGeom prst="rect">
            <a:avLst/>
          </a:prstGeom>
          <a:noFill/>
          <a:ln w="9525">
            <a:noFill/>
            <a:miter lim="800000"/>
            <a:headEnd/>
            <a:tailEnd/>
          </a:ln>
          <a:effectLst/>
        </p:spPr>
        <p:txBody>
          <a:bodyPr wrap="square" anchor="b">
            <a:prstTxWarp prst="textNoShape">
              <a:avLst/>
            </a:prstTxWarp>
            <a:spAutoFit/>
          </a:bodyPr>
          <a:lstStyle/>
          <a:p>
            <a:r>
              <a:rPr lang="nb-NO" sz="1600" dirty="0">
                <a:solidFill>
                  <a:schemeClr val="tx2"/>
                </a:solidFill>
                <a:latin typeface="Garamond"/>
              </a:rPr>
              <a:t>Text</a:t>
            </a:r>
            <a:endParaRPr lang="en-US" sz="1600" dirty="0">
              <a:solidFill>
                <a:schemeClr val="tx2"/>
              </a:solidFill>
              <a:latin typeface="Garamond"/>
            </a:endParaRPr>
          </a:p>
        </p:txBody>
      </p:sp>
      <p:sp>
        <p:nvSpPr>
          <p:cNvPr id="21" name="Text Box 16"/>
          <p:cNvSpPr txBox="1">
            <a:spLocks noChangeArrowheads="1"/>
          </p:cNvSpPr>
          <p:nvPr/>
        </p:nvSpPr>
        <p:spPr bwMode="auto">
          <a:xfrm>
            <a:off x="1107181" y="2526961"/>
            <a:ext cx="1173163" cy="338554"/>
          </a:xfrm>
          <a:prstGeom prst="rect">
            <a:avLst/>
          </a:prstGeom>
          <a:noFill/>
          <a:ln w="9525">
            <a:noFill/>
            <a:miter lim="800000"/>
            <a:headEnd/>
            <a:tailEnd/>
          </a:ln>
          <a:effectLst/>
        </p:spPr>
        <p:txBody>
          <a:bodyPr wrap="square" anchor="b">
            <a:prstTxWarp prst="textNoShape">
              <a:avLst/>
            </a:prstTxWarp>
            <a:spAutoFit/>
          </a:bodyPr>
          <a:lstStyle/>
          <a:p>
            <a:r>
              <a:rPr lang="nb-NO" sz="1600" dirty="0">
                <a:solidFill>
                  <a:schemeClr val="tx2"/>
                </a:solidFill>
                <a:latin typeface="Garamond"/>
              </a:rPr>
              <a:t>Text</a:t>
            </a:r>
            <a:endParaRPr lang="en-US" sz="1600" dirty="0">
              <a:solidFill>
                <a:schemeClr val="tx2"/>
              </a:solidFill>
              <a:latin typeface="Garamond"/>
            </a:endParaRPr>
          </a:p>
        </p:txBody>
      </p:sp>
      <p:sp>
        <p:nvSpPr>
          <p:cNvPr id="22" name="Text Box 17"/>
          <p:cNvSpPr txBox="1">
            <a:spLocks noChangeArrowheads="1"/>
          </p:cNvSpPr>
          <p:nvPr/>
        </p:nvSpPr>
        <p:spPr bwMode="auto">
          <a:xfrm>
            <a:off x="6917431" y="2526961"/>
            <a:ext cx="1173163" cy="338554"/>
          </a:xfrm>
          <a:prstGeom prst="rect">
            <a:avLst/>
          </a:prstGeom>
          <a:noFill/>
          <a:ln w="9525">
            <a:noFill/>
            <a:miter lim="800000"/>
            <a:headEnd/>
            <a:tailEnd/>
          </a:ln>
          <a:effectLst/>
        </p:spPr>
        <p:txBody>
          <a:bodyPr wrap="square" anchor="b">
            <a:prstTxWarp prst="textNoShape">
              <a:avLst/>
            </a:prstTxWarp>
            <a:spAutoFit/>
          </a:bodyPr>
          <a:lstStyle/>
          <a:p>
            <a:r>
              <a:rPr lang="nb-NO" sz="1600" dirty="0">
                <a:solidFill>
                  <a:schemeClr val="tx2"/>
                </a:solidFill>
                <a:latin typeface="Garamond"/>
              </a:rPr>
              <a:t>Text</a:t>
            </a:r>
            <a:endParaRPr lang="en-US" sz="1600" dirty="0">
              <a:solidFill>
                <a:schemeClr val="tx2"/>
              </a:solidFill>
              <a:latin typeface="Garamond"/>
            </a:endParaRPr>
          </a:p>
        </p:txBody>
      </p:sp>
      <p:sp>
        <p:nvSpPr>
          <p:cNvPr id="24" name="Title 3"/>
          <p:cNvSpPr txBox="1">
            <a:spLocks/>
          </p:cNvSpPr>
          <p:nvPr>
            <p:custDataLst>
              <p:tags r:id="rId3"/>
            </p:custDataLst>
          </p:nvPr>
        </p:nvSpPr>
        <p:spPr>
          <a:xfrm>
            <a:off x="754204" y="5545148"/>
            <a:ext cx="6891495" cy="822961"/>
          </a:xfrm>
          <a:prstGeom prst="rect">
            <a:avLst/>
          </a:prstGeom>
        </p:spPr>
        <p:txBody>
          <a:bodyPr vert="horz" lIns="80133" tIns="40067" rIns="80133" bIns="40067" rtlCol="0" anchor="b" anchorCtr="0">
            <a:normAutofit/>
          </a:bodyPr>
          <a:lstStyle>
            <a:lvl1pPr algn="l" defTabSz="914239" rtl="0" eaLnBrk="1" latinLnBrk="0" hangingPunct="1">
              <a:spcBef>
                <a:spcPct val="0"/>
              </a:spcBef>
              <a:buNone/>
              <a:defRPr sz="2800" kern="1200">
                <a:solidFill>
                  <a:schemeClr val="accent1"/>
                </a:solidFill>
                <a:latin typeface="Garamond" pitchFamily="18" charset="0"/>
                <a:ea typeface="+mj-ea"/>
                <a:cs typeface="+mj-cs"/>
              </a:defRPr>
            </a:lvl1pPr>
          </a:lstStyle>
          <a:p>
            <a:r>
              <a:rPr lang="en-GB" sz="1200" dirty="0">
                <a:solidFill>
                  <a:schemeClr val="tx2"/>
                </a:solidFill>
              </a:rPr>
              <a:t>Footnotes and assumptions: list</a:t>
            </a:r>
          </a:p>
          <a:p>
            <a:r>
              <a:rPr lang="en-GB" sz="1200" dirty="0">
                <a:solidFill>
                  <a:schemeClr val="tx2"/>
                </a:solidFill>
              </a:rPr>
              <a:t>Source: List sources</a:t>
            </a:r>
          </a:p>
        </p:txBody>
      </p:sp>
      <p:sp>
        <p:nvSpPr>
          <p:cNvPr id="25" name="Rectangle 4"/>
          <p:cNvSpPr>
            <a:spLocks noGrp="1" noChangeArrowheads="1"/>
          </p:cNvSpPr>
          <p:nvPr>
            <p:ph type="title"/>
            <p:custDataLst>
              <p:tags r:id="rId4"/>
            </p:custDataLst>
          </p:nvPr>
        </p:nvSpPr>
        <p:spPr/>
        <p:txBody>
          <a:bodyPr/>
          <a:lstStyle/>
          <a:p>
            <a:r>
              <a:rPr lang="en-GB" dirty="0" smtClean="0"/>
              <a:t>Message title – </a:t>
            </a:r>
            <a:r>
              <a:rPr lang="en-US" dirty="0" smtClean="0"/>
              <a:t>why are you showing it? filter</a:t>
            </a:r>
            <a:endParaRPr lang="en-GB" dirty="0"/>
          </a:p>
        </p:txBody>
      </p:sp>
      <p:sp>
        <p:nvSpPr>
          <p:cNvPr id="5" name="Footer Placeholder 4"/>
          <p:cNvSpPr>
            <a:spLocks noGrp="1"/>
          </p:cNvSpPr>
          <p:nvPr>
            <p:ph type="ftr" sz="quarter" idx="3"/>
          </p:nvPr>
        </p:nvSpPr>
        <p:spPr/>
        <p:txBody>
          <a:bodyPr/>
          <a:lstStyle/>
          <a:p>
            <a:r>
              <a:rPr lang="en-US" dirty="0" smtClean="0"/>
              <a:t>neil young |neil@ogcommunicationdesign.com |www.ogcommunicationdesign.com</a:t>
            </a:r>
            <a:endParaRPr lang="en-US" dirty="0"/>
          </a:p>
        </p:txBody>
      </p:sp>
      <p:sp>
        <p:nvSpPr>
          <p:cNvPr id="27" name="Slide Number Placeholder 1"/>
          <p:cNvSpPr>
            <a:spLocks noGrp="1"/>
          </p:cNvSpPr>
          <p:nvPr>
            <p:ph type="sldNum" sz="quarter" idx="4"/>
            <p:custDataLst>
              <p:tags r:id="rId5"/>
            </p:custDataLst>
          </p:nvPr>
        </p:nvSpPr>
        <p:spPr/>
        <p:txBody>
          <a:bodyPr/>
          <a:lstStyle/>
          <a:p>
            <a:fld id="{9EA32989-03B0-4860-BCBF-38A6D1811E33}" type="slidenum">
              <a:rPr lang="en-GB" smtClean="0"/>
              <a:pPr/>
              <a:t>24</a:t>
            </a:fld>
            <a:endParaRPr lang="en-GB" dirty="0"/>
          </a:p>
        </p:txBody>
      </p:sp>
      <p:sp>
        <p:nvSpPr>
          <p:cNvPr id="23" name="TextBox 22"/>
          <p:cNvSpPr txBox="1"/>
          <p:nvPr>
            <p:custDataLst>
              <p:tags r:id="rId6"/>
            </p:custDataLst>
          </p:nvPr>
        </p:nvSpPr>
        <p:spPr>
          <a:xfrm>
            <a:off x="755338" y="1481982"/>
            <a:ext cx="7606753" cy="362896"/>
          </a:xfrm>
          <a:prstGeom prst="rect">
            <a:avLst/>
          </a:prstGeom>
          <a:noFill/>
        </p:spPr>
        <p:txBody>
          <a:bodyPr wrap="square" lIns="80147" tIns="40074" rIns="80147" bIns="40074" rtlCol="0">
            <a:spAutoFit/>
          </a:bodyPr>
          <a:lstStyle/>
          <a:p>
            <a:r>
              <a:rPr lang="en-ZW" dirty="0">
                <a:latin typeface="Garamond" pitchFamily="18" charset="0"/>
              </a:rPr>
              <a:t>Title – what are you showing on this page?</a:t>
            </a:r>
          </a:p>
        </p:txBody>
      </p:sp>
    </p:spTree>
    <p:extLst>
      <p:ext uri="{BB962C8B-B14F-4D97-AF65-F5344CB8AC3E}">
        <p14:creationId xmlns:p14="http://schemas.microsoft.com/office/powerpoint/2010/main" val="127169332"/>
      </p:ext>
    </p:extLst>
  </p:cSld>
  <p:clrMapOvr>
    <a:masterClrMapping/>
  </p:clrMapOvr>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7144345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57" name="think-cell Slide" r:id="rId13" imgW="6350000" imgH="6350000" progId="TCLayout.ActiveDocument.1">
                  <p:embed/>
                </p:oleObj>
              </mc:Choice>
              <mc:Fallback>
                <p:oleObj name="think-cell Slide" r:id="rId13" imgW="6350000" imgH="6350000" progId="TCLayout.ActiveDocument.1">
                  <p:embed/>
                  <p:pic>
                    <p:nvPicPr>
                      <p:cNvPr id="0" name="Picture 10"/>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AutoShape 4"/>
          <p:cNvSpPr>
            <a:spLocks noChangeArrowheads="1"/>
          </p:cNvSpPr>
          <p:nvPr>
            <p:custDataLst>
              <p:tags r:id="rId3"/>
            </p:custDataLst>
          </p:nvPr>
        </p:nvSpPr>
        <p:spPr bwMode="auto">
          <a:xfrm flipV="1">
            <a:off x="3141492" y="2426668"/>
            <a:ext cx="2918309" cy="2775285"/>
          </a:xfrm>
          <a:custGeom>
            <a:avLst/>
            <a:gdLst>
              <a:gd name="G0" fmla="+- 5352 0 0"/>
              <a:gd name="G1" fmla="+- 11789464 0 0"/>
              <a:gd name="G2" fmla="+- 0 0 11789464"/>
              <a:gd name="T0" fmla="*/ 0 256 1"/>
              <a:gd name="T1" fmla="*/ 180 256 1"/>
              <a:gd name="G3" fmla="+- 11789464 T0 T1"/>
              <a:gd name="T2" fmla="*/ 0 256 1"/>
              <a:gd name="T3" fmla="*/ 90 256 1"/>
              <a:gd name="G4" fmla="+- 11789464 T2 T3"/>
              <a:gd name="G5" fmla="*/ G4 2 1"/>
              <a:gd name="T4" fmla="*/ 90 256 1"/>
              <a:gd name="T5" fmla="*/ 0 256 1"/>
              <a:gd name="G6" fmla="+- 11789464 T4 T5"/>
              <a:gd name="G7" fmla="*/ G6 2 1"/>
              <a:gd name="G8" fmla="abs 11789464"/>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5352"/>
              <a:gd name="G18" fmla="*/ 5352 1 2"/>
              <a:gd name="G19" fmla="+- G18 5400 0"/>
              <a:gd name="G20" fmla="cos G19 11789464"/>
              <a:gd name="G21" fmla="sin G19 11789464"/>
              <a:gd name="G22" fmla="+- G20 10800 0"/>
              <a:gd name="G23" fmla="+- G21 10800 0"/>
              <a:gd name="G24" fmla="+- 10800 0 G20"/>
              <a:gd name="G25" fmla="+- 5352 10800 0"/>
              <a:gd name="G26" fmla="?: G9 G17 G25"/>
              <a:gd name="G27" fmla="?: G9 0 21600"/>
              <a:gd name="G28" fmla="cos 10800 11789464"/>
              <a:gd name="G29" fmla="sin 10800 11789464"/>
              <a:gd name="G30" fmla="sin 5352 11789464"/>
              <a:gd name="G31" fmla="+- G28 10800 0"/>
              <a:gd name="G32" fmla="+- G29 10800 0"/>
              <a:gd name="G33" fmla="+- G30 10800 0"/>
              <a:gd name="G34" fmla="?: G4 0 G31"/>
              <a:gd name="G35" fmla="?: 11789464 G34 0"/>
              <a:gd name="G36" fmla="?: G6 G35 G31"/>
              <a:gd name="G37" fmla="+- 21600 0 G36"/>
              <a:gd name="G38" fmla="?: G4 0 G33"/>
              <a:gd name="G39" fmla="?: 11789464 G38 G32"/>
              <a:gd name="G40" fmla="?: G6 G39 0"/>
              <a:gd name="G41" fmla="?: G4 G32 21600"/>
              <a:gd name="G42" fmla="?: G6 G41 G33"/>
              <a:gd name="T12" fmla="*/ 10800 w 21600"/>
              <a:gd name="T13" fmla="*/ 0 h 21600"/>
              <a:gd name="T14" fmla="*/ 2724 w 21600"/>
              <a:gd name="T15" fmla="*/ 10815 h 21600"/>
              <a:gd name="T16" fmla="*/ 10800 w 21600"/>
              <a:gd name="T17" fmla="*/ 5448 h 21600"/>
              <a:gd name="T18" fmla="*/ 18876 w 21600"/>
              <a:gd name="T19" fmla="*/ 10815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5448" y="10810"/>
                </a:moveTo>
                <a:cubicBezTo>
                  <a:pt x="5448" y="10806"/>
                  <a:pt x="5448" y="10803"/>
                  <a:pt x="5448" y="10800"/>
                </a:cubicBezTo>
                <a:cubicBezTo>
                  <a:pt x="5448" y="7844"/>
                  <a:pt x="7844" y="5448"/>
                  <a:pt x="10800" y="5448"/>
                </a:cubicBezTo>
                <a:cubicBezTo>
                  <a:pt x="13755" y="5448"/>
                  <a:pt x="16152" y="7844"/>
                  <a:pt x="16152" y="10800"/>
                </a:cubicBezTo>
                <a:cubicBezTo>
                  <a:pt x="16151" y="10803"/>
                  <a:pt x="16151" y="10806"/>
                  <a:pt x="16151" y="10810"/>
                </a:cubicBezTo>
                <a:lnTo>
                  <a:pt x="21599" y="10820"/>
                </a:lnTo>
                <a:cubicBezTo>
                  <a:pt x="21599" y="10813"/>
                  <a:pt x="21600" y="10806"/>
                  <a:pt x="21600" y="10800"/>
                </a:cubicBezTo>
                <a:cubicBezTo>
                  <a:pt x="21600" y="4835"/>
                  <a:pt x="16764" y="0"/>
                  <a:pt x="10800" y="0"/>
                </a:cubicBezTo>
                <a:cubicBezTo>
                  <a:pt x="4835" y="0"/>
                  <a:pt x="0" y="4835"/>
                  <a:pt x="0" y="10800"/>
                </a:cubicBezTo>
                <a:cubicBezTo>
                  <a:pt x="-1" y="10806"/>
                  <a:pt x="0" y="10813"/>
                  <a:pt x="0" y="10820"/>
                </a:cubicBezTo>
                <a:close/>
              </a:path>
            </a:pathLst>
          </a:custGeom>
          <a:solidFill>
            <a:schemeClr val="tx2"/>
          </a:solidFill>
          <a:ln w="9525" cap="rnd" cmpd="sng">
            <a:solidFill>
              <a:schemeClr val="bg1"/>
            </a:solidFill>
            <a:prstDash val="solid"/>
            <a:round/>
            <a:headEnd type="none" w="sm" len="sm"/>
            <a:tailEnd type="none" w="sm" len="sm"/>
          </a:ln>
          <a:effectLst/>
        </p:spPr>
        <p:txBody>
          <a:bodyPr anchor="ctr" anchorCtr="0">
            <a:prstTxWarp prst="textNoShape">
              <a:avLst/>
            </a:prstTxWarp>
          </a:bodyPr>
          <a:lstStyle/>
          <a:p>
            <a:endParaRPr lang="en-GB" sz="1600" dirty="0">
              <a:solidFill>
                <a:srgbClr val="FFFFFF"/>
              </a:solidFill>
              <a:latin typeface="Garamond"/>
            </a:endParaRPr>
          </a:p>
        </p:txBody>
      </p:sp>
      <p:sp>
        <p:nvSpPr>
          <p:cNvPr id="17" name="AutoShape 5"/>
          <p:cNvSpPr>
            <a:spLocks noChangeArrowheads="1"/>
          </p:cNvSpPr>
          <p:nvPr>
            <p:custDataLst>
              <p:tags r:id="rId4"/>
            </p:custDataLst>
          </p:nvPr>
        </p:nvSpPr>
        <p:spPr bwMode="auto">
          <a:xfrm>
            <a:off x="3141492" y="2282353"/>
            <a:ext cx="2918309" cy="2775285"/>
          </a:xfrm>
          <a:custGeom>
            <a:avLst/>
            <a:gdLst>
              <a:gd name="G0" fmla="+- 5352 0 0"/>
              <a:gd name="G1" fmla="+- 11789464 0 0"/>
              <a:gd name="G2" fmla="+- 0 0 11789464"/>
              <a:gd name="T0" fmla="*/ 0 256 1"/>
              <a:gd name="T1" fmla="*/ 180 256 1"/>
              <a:gd name="G3" fmla="+- 11789464 T0 T1"/>
              <a:gd name="T2" fmla="*/ 0 256 1"/>
              <a:gd name="T3" fmla="*/ 90 256 1"/>
              <a:gd name="G4" fmla="+- 11789464 T2 T3"/>
              <a:gd name="G5" fmla="*/ G4 2 1"/>
              <a:gd name="T4" fmla="*/ 90 256 1"/>
              <a:gd name="T5" fmla="*/ 0 256 1"/>
              <a:gd name="G6" fmla="+- 11789464 T4 T5"/>
              <a:gd name="G7" fmla="*/ G6 2 1"/>
              <a:gd name="G8" fmla="abs 11789464"/>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5352"/>
              <a:gd name="G18" fmla="*/ 5352 1 2"/>
              <a:gd name="G19" fmla="+- G18 5400 0"/>
              <a:gd name="G20" fmla="cos G19 11789464"/>
              <a:gd name="G21" fmla="sin G19 11789464"/>
              <a:gd name="G22" fmla="+- G20 10800 0"/>
              <a:gd name="G23" fmla="+- G21 10800 0"/>
              <a:gd name="G24" fmla="+- 10800 0 G20"/>
              <a:gd name="G25" fmla="+- 5352 10800 0"/>
              <a:gd name="G26" fmla="?: G9 G17 G25"/>
              <a:gd name="G27" fmla="?: G9 0 21600"/>
              <a:gd name="G28" fmla="cos 10800 11789464"/>
              <a:gd name="G29" fmla="sin 10800 11789464"/>
              <a:gd name="G30" fmla="sin 5352 11789464"/>
              <a:gd name="G31" fmla="+- G28 10800 0"/>
              <a:gd name="G32" fmla="+- G29 10800 0"/>
              <a:gd name="G33" fmla="+- G30 10800 0"/>
              <a:gd name="G34" fmla="?: G4 0 G31"/>
              <a:gd name="G35" fmla="?: 11789464 G34 0"/>
              <a:gd name="G36" fmla="?: G6 G35 G31"/>
              <a:gd name="G37" fmla="+- 21600 0 G36"/>
              <a:gd name="G38" fmla="?: G4 0 G33"/>
              <a:gd name="G39" fmla="?: 11789464 G38 G32"/>
              <a:gd name="G40" fmla="?: G6 G39 0"/>
              <a:gd name="G41" fmla="?: G4 G32 21600"/>
              <a:gd name="G42" fmla="?: G6 G41 G33"/>
              <a:gd name="T12" fmla="*/ 10800 w 21600"/>
              <a:gd name="T13" fmla="*/ 0 h 21600"/>
              <a:gd name="T14" fmla="*/ 2724 w 21600"/>
              <a:gd name="T15" fmla="*/ 10815 h 21600"/>
              <a:gd name="T16" fmla="*/ 10800 w 21600"/>
              <a:gd name="T17" fmla="*/ 5448 h 21600"/>
              <a:gd name="T18" fmla="*/ 18876 w 21600"/>
              <a:gd name="T19" fmla="*/ 10815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5448" y="10810"/>
                </a:moveTo>
                <a:cubicBezTo>
                  <a:pt x="5448" y="10806"/>
                  <a:pt x="5448" y="10803"/>
                  <a:pt x="5448" y="10800"/>
                </a:cubicBezTo>
                <a:cubicBezTo>
                  <a:pt x="5448" y="7844"/>
                  <a:pt x="7844" y="5448"/>
                  <a:pt x="10800" y="5448"/>
                </a:cubicBezTo>
                <a:cubicBezTo>
                  <a:pt x="13755" y="5448"/>
                  <a:pt x="16152" y="7844"/>
                  <a:pt x="16152" y="10800"/>
                </a:cubicBezTo>
                <a:cubicBezTo>
                  <a:pt x="16151" y="10803"/>
                  <a:pt x="16151" y="10806"/>
                  <a:pt x="16151" y="10810"/>
                </a:cubicBezTo>
                <a:lnTo>
                  <a:pt x="21599" y="10820"/>
                </a:lnTo>
                <a:cubicBezTo>
                  <a:pt x="21599" y="10813"/>
                  <a:pt x="21600" y="10806"/>
                  <a:pt x="21600" y="10800"/>
                </a:cubicBezTo>
                <a:cubicBezTo>
                  <a:pt x="21600" y="4835"/>
                  <a:pt x="16764" y="0"/>
                  <a:pt x="10800" y="0"/>
                </a:cubicBezTo>
                <a:cubicBezTo>
                  <a:pt x="4835" y="0"/>
                  <a:pt x="0" y="4835"/>
                  <a:pt x="0" y="10800"/>
                </a:cubicBezTo>
                <a:cubicBezTo>
                  <a:pt x="-1" y="10806"/>
                  <a:pt x="0" y="10813"/>
                  <a:pt x="0" y="10820"/>
                </a:cubicBezTo>
                <a:close/>
              </a:path>
            </a:pathLst>
          </a:custGeom>
          <a:solidFill>
            <a:schemeClr val="tx2"/>
          </a:solidFill>
          <a:ln w="9525" cap="rnd" cmpd="sng">
            <a:solidFill>
              <a:schemeClr val="bg1"/>
            </a:solidFill>
            <a:prstDash val="solid"/>
            <a:round/>
            <a:headEnd type="none" w="sm" len="sm"/>
            <a:tailEnd type="none" w="sm" len="sm"/>
          </a:ln>
          <a:effectLst/>
        </p:spPr>
        <p:txBody>
          <a:bodyPr anchor="ctr" anchorCtr="0">
            <a:prstTxWarp prst="textNoShape">
              <a:avLst/>
            </a:prstTxWarp>
          </a:bodyPr>
          <a:lstStyle/>
          <a:p>
            <a:endParaRPr lang="en-GB" sz="1600" dirty="0">
              <a:solidFill>
                <a:srgbClr val="FFFFFF"/>
              </a:solidFill>
              <a:latin typeface="Garamond"/>
            </a:endParaRPr>
          </a:p>
        </p:txBody>
      </p:sp>
      <p:sp>
        <p:nvSpPr>
          <p:cNvPr id="18" name="Rectangle 6"/>
          <p:cNvSpPr>
            <a:spLocks noChangeArrowheads="1"/>
          </p:cNvSpPr>
          <p:nvPr>
            <p:custDataLst>
              <p:tags r:id="rId5"/>
            </p:custDataLst>
          </p:nvPr>
        </p:nvSpPr>
        <p:spPr bwMode="auto">
          <a:xfrm>
            <a:off x="3839482" y="4699787"/>
            <a:ext cx="1526009" cy="340735"/>
          </a:xfrm>
          <a:prstGeom prst="rect">
            <a:avLst/>
          </a:prstGeom>
          <a:noFill/>
          <a:ln w="9525">
            <a:noFill/>
            <a:miter lim="800000"/>
            <a:headEnd/>
            <a:tailEnd/>
          </a:ln>
          <a:effectLst/>
        </p:spPr>
        <p:txBody>
          <a:bodyPr wrap="square" lIns="108000" tIns="46800" rIns="108000" bIns="46800" anchor="ctr" anchorCtr="1">
            <a:prstTxWarp prst="textNoShape">
              <a:avLst/>
            </a:prstTxWarp>
            <a:spAutoFit/>
          </a:bodyPr>
          <a:lstStyle/>
          <a:p>
            <a:pPr defTabSz="690156">
              <a:spcBef>
                <a:spcPct val="20000"/>
              </a:spcBef>
            </a:pPr>
            <a:r>
              <a:rPr lang="en-AU" sz="1600" dirty="0">
                <a:solidFill>
                  <a:srgbClr val="FFFFFF"/>
                </a:solidFill>
                <a:latin typeface="Garamond"/>
              </a:rPr>
              <a:t>Text</a:t>
            </a:r>
          </a:p>
        </p:txBody>
      </p:sp>
      <p:sp>
        <p:nvSpPr>
          <p:cNvPr id="19" name="Oval 7"/>
          <p:cNvSpPr>
            <a:spLocks noChangeArrowheads="1"/>
          </p:cNvSpPr>
          <p:nvPr>
            <p:custDataLst>
              <p:tags r:id="rId6"/>
            </p:custDataLst>
          </p:nvPr>
        </p:nvSpPr>
        <p:spPr bwMode="auto">
          <a:xfrm>
            <a:off x="4311760" y="3447972"/>
            <a:ext cx="581454" cy="584660"/>
          </a:xfrm>
          <a:prstGeom prst="ellipse">
            <a:avLst/>
          </a:prstGeom>
          <a:solidFill>
            <a:schemeClr val="accent1"/>
          </a:solidFill>
          <a:ln w="9525">
            <a:solidFill>
              <a:schemeClr val="accent1"/>
            </a:solidFill>
            <a:round/>
            <a:headEnd/>
            <a:tailEnd/>
          </a:ln>
          <a:effectLst/>
        </p:spPr>
        <p:txBody>
          <a:bodyPr wrap="square" lIns="108000" tIns="46800" rIns="108000" bIns="46800" anchor="ctr">
            <a:prstTxWarp prst="textNoShape">
              <a:avLst/>
            </a:prstTxWarp>
          </a:bodyPr>
          <a:lstStyle/>
          <a:p>
            <a:endParaRPr lang="en-GB" sz="1600" dirty="0">
              <a:solidFill>
                <a:srgbClr val="FFFFFF"/>
              </a:solidFill>
              <a:latin typeface="Garamond"/>
            </a:endParaRPr>
          </a:p>
        </p:txBody>
      </p:sp>
      <p:sp>
        <p:nvSpPr>
          <p:cNvPr id="20" name="Rectangle 8"/>
          <p:cNvSpPr>
            <a:spLocks noChangeArrowheads="1"/>
          </p:cNvSpPr>
          <p:nvPr>
            <p:custDataLst>
              <p:tags r:id="rId7"/>
            </p:custDataLst>
          </p:nvPr>
        </p:nvSpPr>
        <p:spPr bwMode="auto">
          <a:xfrm>
            <a:off x="3839482" y="2421585"/>
            <a:ext cx="1526009" cy="340735"/>
          </a:xfrm>
          <a:prstGeom prst="rect">
            <a:avLst/>
          </a:prstGeom>
          <a:noFill/>
          <a:ln w="9525">
            <a:noFill/>
            <a:miter lim="800000"/>
            <a:headEnd/>
            <a:tailEnd/>
          </a:ln>
          <a:effectLst/>
        </p:spPr>
        <p:txBody>
          <a:bodyPr wrap="square" lIns="108000" tIns="46800" rIns="108000" bIns="46800" anchor="ctr" anchorCtr="1">
            <a:prstTxWarp prst="textNoShape">
              <a:avLst/>
            </a:prstTxWarp>
            <a:spAutoFit/>
          </a:bodyPr>
          <a:lstStyle/>
          <a:p>
            <a:pPr defTabSz="690156">
              <a:spcBef>
                <a:spcPct val="20000"/>
              </a:spcBef>
            </a:pPr>
            <a:r>
              <a:rPr lang="en-AU" sz="1600" dirty="0">
                <a:solidFill>
                  <a:srgbClr val="FFFFFF"/>
                </a:solidFill>
                <a:latin typeface="Garamond"/>
              </a:rPr>
              <a:t>Text</a:t>
            </a:r>
          </a:p>
        </p:txBody>
      </p:sp>
      <p:sp>
        <p:nvSpPr>
          <p:cNvPr id="21" name="Title 3"/>
          <p:cNvSpPr txBox="1">
            <a:spLocks/>
          </p:cNvSpPr>
          <p:nvPr>
            <p:custDataLst>
              <p:tags r:id="rId8"/>
            </p:custDataLst>
          </p:nvPr>
        </p:nvSpPr>
        <p:spPr>
          <a:xfrm>
            <a:off x="754204" y="5545148"/>
            <a:ext cx="6891495" cy="822961"/>
          </a:xfrm>
          <a:prstGeom prst="rect">
            <a:avLst/>
          </a:prstGeom>
        </p:spPr>
        <p:txBody>
          <a:bodyPr vert="horz" lIns="80133" tIns="40067" rIns="80133" bIns="40067" rtlCol="0" anchor="b" anchorCtr="0">
            <a:normAutofit/>
          </a:bodyPr>
          <a:lstStyle>
            <a:lvl1pPr algn="l" defTabSz="914239" rtl="0" eaLnBrk="1" latinLnBrk="0" hangingPunct="1">
              <a:spcBef>
                <a:spcPct val="0"/>
              </a:spcBef>
              <a:buNone/>
              <a:defRPr sz="2800" kern="1200">
                <a:solidFill>
                  <a:schemeClr val="accent1"/>
                </a:solidFill>
                <a:latin typeface="Garamond" pitchFamily="18" charset="0"/>
                <a:ea typeface="+mj-ea"/>
                <a:cs typeface="+mj-cs"/>
              </a:defRPr>
            </a:lvl1pPr>
          </a:lstStyle>
          <a:p>
            <a:r>
              <a:rPr lang="en-GB" sz="1200" dirty="0">
                <a:solidFill>
                  <a:schemeClr val="tx2"/>
                </a:solidFill>
              </a:rPr>
              <a:t>Footnotes and assumptions: list</a:t>
            </a:r>
          </a:p>
          <a:p>
            <a:r>
              <a:rPr lang="en-GB" sz="1200" dirty="0">
                <a:solidFill>
                  <a:schemeClr val="tx2"/>
                </a:solidFill>
              </a:rPr>
              <a:t>Source: List sources</a:t>
            </a:r>
          </a:p>
        </p:txBody>
      </p:sp>
      <p:sp>
        <p:nvSpPr>
          <p:cNvPr id="22" name="Rectangle 4"/>
          <p:cNvSpPr>
            <a:spLocks noGrp="1" noChangeArrowheads="1"/>
          </p:cNvSpPr>
          <p:nvPr>
            <p:ph type="title"/>
            <p:custDataLst>
              <p:tags r:id="rId9"/>
            </p:custDataLst>
          </p:nvPr>
        </p:nvSpPr>
        <p:spPr/>
        <p:txBody>
          <a:bodyPr/>
          <a:lstStyle/>
          <a:p>
            <a:r>
              <a:rPr lang="en-GB" dirty="0" smtClean="0"/>
              <a:t>Message title – </a:t>
            </a:r>
            <a:r>
              <a:rPr lang="en-US" dirty="0" smtClean="0"/>
              <a:t>why are you showing it? </a:t>
            </a:r>
            <a:r>
              <a:rPr lang="en-US" dirty="0"/>
              <a:t>c</a:t>
            </a:r>
            <a:r>
              <a:rPr lang="en-US" dirty="0" smtClean="0"/>
              <a:t>ircle structure</a:t>
            </a:r>
            <a:endParaRPr lang="en-GB" dirty="0"/>
          </a:p>
        </p:txBody>
      </p:sp>
      <p:sp>
        <p:nvSpPr>
          <p:cNvPr id="5" name="Footer Placeholder 4"/>
          <p:cNvSpPr>
            <a:spLocks noGrp="1"/>
          </p:cNvSpPr>
          <p:nvPr>
            <p:ph type="ftr" sz="quarter" idx="3"/>
          </p:nvPr>
        </p:nvSpPr>
        <p:spPr/>
        <p:txBody>
          <a:bodyPr/>
          <a:lstStyle/>
          <a:p>
            <a:r>
              <a:rPr lang="en-US" dirty="0" smtClean="0"/>
              <a:t>neil young |neil@ogcommunicationdesign.com |www.ogcommunicationdesign.com</a:t>
            </a:r>
            <a:endParaRPr lang="en-US" dirty="0"/>
          </a:p>
        </p:txBody>
      </p:sp>
      <p:sp>
        <p:nvSpPr>
          <p:cNvPr id="24" name="Slide Number Placeholder 1"/>
          <p:cNvSpPr>
            <a:spLocks noGrp="1"/>
          </p:cNvSpPr>
          <p:nvPr>
            <p:ph type="sldNum" sz="quarter" idx="4"/>
            <p:custDataLst>
              <p:tags r:id="rId10"/>
            </p:custDataLst>
          </p:nvPr>
        </p:nvSpPr>
        <p:spPr/>
        <p:txBody>
          <a:bodyPr/>
          <a:lstStyle/>
          <a:p>
            <a:fld id="{9EA32989-03B0-4860-BCBF-38A6D1811E33}" type="slidenum">
              <a:rPr lang="en-GB" smtClean="0"/>
              <a:pPr/>
              <a:t>25</a:t>
            </a:fld>
            <a:endParaRPr lang="en-GB" dirty="0"/>
          </a:p>
        </p:txBody>
      </p:sp>
      <p:sp>
        <p:nvSpPr>
          <p:cNvPr id="14" name="TextBox 13"/>
          <p:cNvSpPr txBox="1"/>
          <p:nvPr>
            <p:custDataLst>
              <p:tags r:id="rId11"/>
            </p:custDataLst>
          </p:nvPr>
        </p:nvSpPr>
        <p:spPr>
          <a:xfrm>
            <a:off x="755338" y="1481982"/>
            <a:ext cx="7606753" cy="362896"/>
          </a:xfrm>
          <a:prstGeom prst="rect">
            <a:avLst/>
          </a:prstGeom>
          <a:noFill/>
        </p:spPr>
        <p:txBody>
          <a:bodyPr wrap="square" lIns="80147" tIns="40074" rIns="80147" bIns="40074" rtlCol="0">
            <a:spAutoFit/>
          </a:bodyPr>
          <a:lstStyle/>
          <a:p>
            <a:r>
              <a:rPr lang="en-ZW" dirty="0">
                <a:latin typeface="Garamond" pitchFamily="18" charset="0"/>
              </a:rPr>
              <a:t>Title – what are you showing on this page?</a:t>
            </a:r>
          </a:p>
        </p:txBody>
      </p:sp>
    </p:spTree>
    <p:extLst>
      <p:ext uri="{BB962C8B-B14F-4D97-AF65-F5344CB8AC3E}">
        <p14:creationId xmlns:p14="http://schemas.microsoft.com/office/powerpoint/2010/main" val="127169332"/>
      </p:ext>
    </p:extLst>
  </p:cSld>
  <p:clrMapOvr>
    <a:masterClrMapping/>
  </p:clrMapOvr>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9233923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81" name="think-cell Slide" r:id="rId8" imgW="6350000" imgH="6350000" progId="TCLayout.ActiveDocument.1">
                  <p:embed/>
                </p:oleObj>
              </mc:Choice>
              <mc:Fallback>
                <p:oleObj name="think-cell Slide" r:id="rId8" imgW="6350000" imgH="6350000" progId="TCLayout.ActiveDocument.1">
                  <p:embed/>
                  <p:pic>
                    <p:nvPicPr>
                      <p:cNvPr id="0" name="Picture 10"/>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Freeform 4"/>
          <p:cNvSpPr>
            <a:spLocks/>
          </p:cNvSpPr>
          <p:nvPr/>
        </p:nvSpPr>
        <p:spPr bwMode="auto">
          <a:xfrm>
            <a:off x="3084200" y="2288067"/>
            <a:ext cx="3096000" cy="3094235"/>
          </a:xfrm>
          <a:custGeom>
            <a:avLst/>
            <a:gdLst>
              <a:gd name="T0" fmla="*/ 109976 w 1725"/>
              <a:gd name="T1" fmla="*/ 1110135 h 1724"/>
              <a:gd name="T2" fmla="*/ 18329 w 1725"/>
              <a:gd name="T3" fmla="*/ 1462370 h 1724"/>
              <a:gd name="T4" fmla="*/ 4073 w 1725"/>
              <a:gd name="T5" fmla="*/ 1826479 h 1724"/>
              <a:gd name="T6" fmla="*/ 71281 w 1725"/>
              <a:gd name="T7" fmla="*/ 2186630 h 1724"/>
              <a:gd name="T8" fmla="*/ 215880 w 1725"/>
              <a:gd name="T9" fmla="*/ 2523034 h 1724"/>
              <a:gd name="T10" fmla="*/ 429723 w 1725"/>
              <a:gd name="T11" fmla="*/ 2821841 h 1724"/>
              <a:gd name="T12" fmla="*/ 704664 w 1725"/>
              <a:gd name="T13" fmla="*/ 3071176 h 1724"/>
              <a:gd name="T14" fmla="*/ 1026447 w 1725"/>
              <a:gd name="T15" fmla="*/ 3257188 h 1724"/>
              <a:gd name="T16" fmla="*/ 1382852 w 1725"/>
              <a:gd name="T17" fmla="*/ 3369982 h 1724"/>
              <a:gd name="T18" fmla="*/ 1755550 w 1725"/>
              <a:gd name="T19" fmla="*/ 3409559 h 1724"/>
              <a:gd name="T20" fmla="*/ 2130285 w 1725"/>
              <a:gd name="T21" fmla="*/ 3369982 h 1724"/>
              <a:gd name="T22" fmla="*/ 2484653 w 1725"/>
              <a:gd name="T23" fmla="*/ 3257188 h 1724"/>
              <a:gd name="T24" fmla="*/ 2808473 w 1725"/>
              <a:gd name="T25" fmla="*/ 3071176 h 1724"/>
              <a:gd name="T26" fmla="*/ 3083414 w 1725"/>
              <a:gd name="T27" fmla="*/ 2821841 h 1724"/>
              <a:gd name="T28" fmla="*/ 3297257 w 1725"/>
              <a:gd name="T29" fmla="*/ 2523034 h 1724"/>
              <a:gd name="T30" fmla="*/ 3439819 w 1725"/>
              <a:gd name="T31" fmla="*/ 2186630 h 1724"/>
              <a:gd name="T32" fmla="*/ 3507027 w 1725"/>
              <a:gd name="T33" fmla="*/ 1826479 h 1724"/>
              <a:gd name="T34" fmla="*/ 3492771 w 1725"/>
              <a:gd name="T35" fmla="*/ 1458413 h 1724"/>
              <a:gd name="T36" fmla="*/ 3397051 w 1725"/>
              <a:gd name="T37" fmla="*/ 1098262 h 1724"/>
              <a:gd name="T38" fmla="*/ 3223940 w 1725"/>
              <a:gd name="T39" fmla="*/ 769773 h 1724"/>
              <a:gd name="T40" fmla="*/ 2981584 w 1725"/>
              <a:gd name="T41" fmla="*/ 482839 h 1724"/>
              <a:gd name="T42" fmla="*/ 2680167 w 1725"/>
              <a:gd name="T43" fmla="*/ 255272 h 1724"/>
              <a:gd name="T44" fmla="*/ 2335982 w 1725"/>
              <a:gd name="T45" fmla="*/ 93006 h 1724"/>
              <a:gd name="T46" fmla="*/ 1963284 w 1725"/>
              <a:gd name="T47" fmla="*/ 11873 h 1724"/>
              <a:gd name="T48" fmla="*/ 1582439 w 1725"/>
              <a:gd name="T49" fmla="*/ 7915 h 1724"/>
              <a:gd name="T50" fmla="*/ 1209741 w 1725"/>
              <a:gd name="T51" fmla="*/ 85091 h 1724"/>
              <a:gd name="T52" fmla="*/ 861482 w 1725"/>
              <a:gd name="T53" fmla="*/ 237462 h 1724"/>
              <a:gd name="T54" fmla="*/ 555992 w 1725"/>
              <a:gd name="T55" fmla="*/ 459093 h 1724"/>
              <a:gd name="T56" fmla="*/ 910361 w 1725"/>
              <a:gd name="T57" fmla="*/ 601571 h 1724"/>
              <a:gd name="T58" fmla="*/ 1344157 w 1725"/>
              <a:gd name="T59" fmla="*/ 957764 h 1724"/>
              <a:gd name="T60" fmla="*/ 1584476 w 1725"/>
              <a:gd name="T61" fmla="*/ 870694 h 1724"/>
              <a:gd name="T62" fmla="*/ 1841087 w 1725"/>
              <a:gd name="T63" fmla="*/ 854863 h 1724"/>
              <a:gd name="T64" fmla="*/ 2091589 w 1725"/>
              <a:gd name="T65" fmla="*/ 914229 h 1724"/>
              <a:gd name="T66" fmla="*/ 2315616 w 1725"/>
              <a:gd name="T67" fmla="*/ 1044833 h 1724"/>
              <a:gd name="T68" fmla="*/ 2488727 w 1725"/>
              <a:gd name="T69" fmla="*/ 1228866 h 1724"/>
              <a:gd name="T70" fmla="*/ 2598703 w 1725"/>
              <a:gd name="T71" fmla="*/ 1456434 h 1724"/>
              <a:gd name="T72" fmla="*/ 2633325 w 1725"/>
              <a:gd name="T73" fmla="*/ 1703790 h 1724"/>
              <a:gd name="T74" fmla="*/ 2592593 w 1725"/>
              <a:gd name="T75" fmla="*/ 1961041 h 1724"/>
              <a:gd name="T76" fmla="*/ 2476507 w 1725"/>
              <a:gd name="T77" fmla="*/ 2192566 h 1724"/>
              <a:gd name="T78" fmla="*/ 2293213 w 1725"/>
              <a:gd name="T79" fmla="*/ 2378578 h 1724"/>
              <a:gd name="T80" fmla="*/ 2061040 w 1725"/>
              <a:gd name="T81" fmla="*/ 2505225 h 1724"/>
              <a:gd name="T82" fmla="*/ 1800355 w 1725"/>
              <a:gd name="T83" fmla="*/ 2556675 h 1724"/>
              <a:gd name="T84" fmla="*/ 1535597 w 1725"/>
              <a:gd name="T85" fmla="*/ 2528971 h 1724"/>
              <a:gd name="T86" fmla="*/ 1291205 w 1725"/>
              <a:gd name="T87" fmla="*/ 2430028 h 1724"/>
              <a:gd name="T88" fmla="*/ 1089582 w 1725"/>
              <a:gd name="T89" fmla="*/ 2261826 h 1724"/>
              <a:gd name="T90" fmla="*/ 949056 w 1725"/>
              <a:gd name="T91" fmla="*/ 2040195 h 1724"/>
              <a:gd name="T92" fmla="*/ 881848 w 1725"/>
              <a:gd name="T93" fmla="*/ 1790860 h 1724"/>
              <a:gd name="T94" fmla="*/ 900178 w 1725"/>
              <a:gd name="T95" fmla="*/ 1541524 h 1724"/>
              <a:gd name="T96" fmla="*/ 979605 w 1725"/>
              <a:gd name="T97" fmla="*/ 1308020 h 1724"/>
              <a:gd name="T98" fmla="*/ 1140497 w 1725"/>
              <a:gd name="T99" fmla="*/ 1106177 h 1724"/>
              <a:gd name="T100" fmla="*/ 580431 w 1725"/>
              <a:gd name="T101" fmla="*/ 692598 h 1724"/>
              <a:gd name="T102" fmla="*/ 215880 w 1725"/>
              <a:gd name="T103" fmla="*/ 890483 h 172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5" h="1724">
                <a:moveTo>
                  <a:pt x="106" y="450"/>
                </a:moveTo>
                <a:lnTo>
                  <a:pt x="78" y="504"/>
                </a:lnTo>
                <a:lnTo>
                  <a:pt x="54" y="561"/>
                </a:lnTo>
                <a:lnTo>
                  <a:pt x="35" y="619"/>
                </a:lnTo>
                <a:lnTo>
                  <a:pt x="19" y="678"/>
                </a:lnTo>
                <a:lnTo>
                  <a:pt x="9" y="739"/>
                </a:lnTo>
                <a:lnTo>
                  <a:pt x="2" y="800"/>
                </a:lnTo>
                <a:lnTo>
                  <a:pt x="0" y="861"/>
                </a:lnTo>
                <a:lnTo>
                  <a:pt x="2" y="923"/>
                </a:lnTo>
                <a:lnTo>
                  <a:pt x="9" y="984"/>
                </a:lnTo>
                <a:lnTo>
                  <a:pt x="21" y="1045"/>
                </a:lnTo>
                <a:lnTo>
                  <a:pt x="35" y="1105"/>
                </a:lnTo>
                <a:lnTo>
                  <a:pt x="55" y="1162"/>
                </a:lnTo>
                <a:lnTo>
                  <a:pt x="78" y="1220"/>
                </a:lnTo>
                <a:lnTo>
                  <a:pt x="106" y="1275"/>
                </a:lnTo>
                <a:lnTo>
                  <a:pt x="137" y="1328"/>
                </a:lnTo>
                <a:lnTo>
                  <a:pt x="172" y="1378"/>
                </a:lnTo>
                <a:lnTo>
                  <a:pt x="211" y="1426"/>
                </a:lnTo>
                <a:lnTo>
                  <a:pt x="253" y="1471"/>
                </a:lnTo>
                <a:lnTo>
                  <a:pt x="298" y="1513"/>
                </a:lnTo>
                <a:lnTo>
                  <a:pt x="346" y="1552"/>
                </a:lnTo>
                <a:lnTo>
                  <a:pt x="396" y="1586"/>
                </a:lnTo>
                <a:lnTo>
                  <a:pt x="449" y="1618"/>
                </a:lnTo>
                <a:lnTo>
                  <a:pt x="504" y="1646"/>
                </a:lnTo>
                <a:lnTo>
                  <a:pt x="561" y="1669"/>
                </a:lnTo>
                <a:lnTo>
                  <a:pt x="619" y="1689"/>
                </a:lnTo>
                <a:lnTo>
                  <a:pt x="679" y="1703"/>
                </a:lnTo>
                <a:lnTo>
                  <a:pt x="740" y="1715"/>
                </a:lnTo>
                <a:lnTo>
                  <a:pt x="801" y="1721"/>
                </a:lnTo>
                <a:lnTo>
                  <a:pt x="862" y="1723"/>
                </a:lnTo>
                <a:lnTo>
                  <a:pt x="924" y="1721"/>
                </a:lnTo>
                <a:lnTo>
                  <a:pt x="985" y="1715"/>
                </a:lnTo>
                <a:lnTo>
                  <a:pt x="1046" y="1703"/>
                </a:lnTo>
                <a:lnTo>
                  <a:pt x="1105" y="1689"/>
                </a:lnTo>
                <a:lnTo>
                  <a:pt x="1163" y="1669"/>
                </a:lnTo>
                <a:lnTo>
                  <a:pt x="1220" y="1646"/>
                </a:lnTo>
                <a:lnTo>
                  <a:pt x="1276" y="1618"/>
                </a:lnTo>
                <a:lnTo>
                  <a:pt x="1329" y="1586"/>
                </a:lnTo>
                <a:lnTo>
                  <a:pt x="1379" y="1552"/>
                </a:lnTo>
                <a:lnTo>
                  <a:pt x="1427" y="1513"/>
                </a:lnTo>
                <a:lnTo>
                  <a:pt x="1472" y="1471"/>
                </a:lnTo>
                <a:lnTo>
                  <a:pt x="1514" y="1426"/>
                </a:lnTo>
                <a:lnTo>
                  <a:pt x="1553" y="1378"/>
                </a:lnTo>
                <a:lnTo>
                  <a:pt x="1587" y="1328"/>
                </a:lnTo>
                <a:lnTo>
                  <a:pt x="1619" y="1275"/>
                </a:lnTo>
                <a:lnTo>
                  <a:pt x="1647" y="1220"/>
                </a:lnTo>
                <a:lnTo>
                  <a:pt x="1670" y="1162"/>
                </a:lnTo>
                <a:lnTo>
                  <a:pt x="1689" y="1105"/>
                </a:lnTo>
                <a:lnTo>
                  <a:pt x="1704" y="1045"/>
                </a:lnTo>
                <a:lnTo>
                  <a:pt x="1716" y="984"/>
                </a:lnTo>
                <a:lnTo>
                  <a:pt x="1722" y="923"/>
                </a:lnTo>
                <a:lnTo>
                  <a:pt x="1724" y="861"/>
                </a:lnTo>
                <a:lnTo>
                  <a:pt x="1722" y="799"/>
                </a:lnTo>
                <a:lnTo>
                  <a:pt x="1715" y="737"/>
                </a:lnTo>
                <a:lnTo>
                  <a:pt x="1704" y="675"/>
                </a:lnTo>
                <a:lnTo>
                  <a:pt x="1688" y="615"/>
                </a:lnTo>
                <a:lnTo>
                  <a:pt x="1668" y="555"/>
                </a:lnTo>
                <a:lnTo>
                  <a:pt x="1643" y="498"/>
                </a:lnTo>
                <a:lnTo>
                  <a:pt x="1616" y="442"/>
                </a:lnTo>
                <a:lnTo>
                  <a:pt x="1583" y="389"/>
                </a:lnTo>
                <a:lnTo>
                  <a:pt x="1547" y="337"/>
                </a:lnTo>
                <a:lnTo>
                  <a:pt x="1507" y="289"/>
                </a:lnTo>
                <a:lnTo>
                  <a:pt x="1464" y="244"/>
                </a:lnTo>
                <a:lnTo>
                  <a:pt x="1417" y="201"/>
                </a:lnTo>
                <a:lnTo>
                  <a:pt x="1367" y="163"/>
                </a:lnTo>
                <a:lnTo>
                  <a:pt x="1316" y="129"/>
                </a:lnTo>
                <a:lnTo>
                  <a:pt x="1262" y="98"/>
                </a:lnTo>
                <a:lnTo>
                  <a:pt x="1205" y="70"/>
                </a:lnTo>
                <a:lnTo>
                  <a:pt x="1147" y="47"/>
                </a:lnTo>
                <a:lnTo>
                  <a:pt x="1087" y="29"/>
                </a:lnTo>
                <a:lnTo>
                  <a:pt x="1026" y="15"/>
                </a:lnTo>
                <a:lnTo>
                  <a:pt x="964" y="6"/>
                </a:lnTo>
                <a:lnTo>
                  <a:pt x="902" y="0"/>
                </a:lnTo>
                <a:lnTo>
                  <a:pt x="839" y="0"/>
                </a:lnTo>
                <a:lnTo>
                  <a:pt x="777" y="4"/>
                </a:lnTo>
                <a:lnTo>
                  <a:pt x="715" y="12"/>
                </a:lnTo>
                <a:lnTo>
                  <a:pt x="654" y="26"/>
                </a:lnTo>
                <a:lnTo>
                  <a:pt x="594" y="43"/>
                </a:lnTo>
                <a:lnTo>
                  <a:pt x="534" y="64"/>
                </a:lnTo>
                <a:lnTo>
                  <a:pt x="478" y="90"/>
                </a:lnTo>
                <a:lnTo>
                  <a:pt x="423" y="120"/>
                </a:lnTo>
                <a:lnTo>
                  <a:pt x="370" y="154"/>
                </a:lnTo>
                <a:lnTo>
                  <a:pt x="321" y="191"/>
                </a:lnTo>
                <a:lnTo>
                  <a:pt x="273" y="232"/>
                </a:lnTo>
                <a:lnTo>
                  <a:pt x="229" y="277"/>
                </a:lnTo>
                <a:lnTo>
                  <a:pt x="188" y="324"/>
                </a:lnTo>
                <a:lnTo>
                  <a:pt x="447" y="304"/>
                </a:lnTo>
                <a:lnTo>
                  <a:pt x="591" y="532"/>
                </a:lnTo>
                <a:lnTo>
                  <a:pt x="624" y="507"/>
                </a:lnTo>
                <a:lnTo>
                  <a:pt x="660" y="484"/>
                </a:lnTo>
                <a:lnTo>
                  <a:pt x="697" y="466"/>
                </a:lnTo>
                <a:lnTo>
                  <a:pt x="738" y="451"/>
                </a:lnTo>
                <a:lnTo>
                  <a:pt x="778" y="440"/>
                </a:lnTo>
                <a:lnTo>
                  <a:pt x="821" y="433"/>
                </a:lnTo>
                <a:lnTo>
                  <a:pt x="863" y="431"/>
                </a:lnTo>
                <a:lnTo>
                  <a:pt x="904" y="432"/>
                </a:lnTo>
                <a:lnTo>
                  <a:pt x="947" y="438"/>
                </a:lnTo>
                <a:lnTo>
                  <a:pt x="988" y="448"/>
                </a:lnTo>
                <a:lnTo>
                  <a:pt x="1027" y="462"/>
                </a:lnTo>
                <a:lnTo>
                  <a:pt x="1066" y="481"/>
                </a:lnTo>
                <a:lnTo>
                  <a:pt x="1103" y="502"/>
                </a:lnTo>
                <a:lnTo>
                  <a:pt x="1137" y="528"/>
                </a:lnTo>
                <a:lnTo>
                  <a:pt x="1169" y="555"/>
                </a:lnTo>
                <a:lnTo>
                  <a:pt x="1196" y="587"/>
                </a:lnTo>
                <a:lnTo>
                  <a:pt x="1222" y="621"/>
                </a:lnTo>
                <a:lnTo>
                  <a:pt x="1243" y="658"/>
                </a:lnTo>
                <a:lnTo>
                  <a:pt x="1262" y="696"/>
                </a:lnTo>
                <a:lnTo>
                  <a:pt x="1276" y="736"/>
                </a:lnTo>
                <a:lnTo>
                  <a:pt x="1286" y="777"/>
                </a:lnTo>
                <a:lnTo>
                  <a:pt x="1292" y="820"/>
                </a:lnTo>
                <a:lnTo>
                  <a:pt x="1293" y="861"/>
                </a:lnTo>
                <a:lnTo>
                  <a:pt x="1291" y="905"/>
                </a:lnTo>
                <a:lnTo>
                  <a:pt x="1285" y="948"/>
                </a:lnTo>
                <a:lnTo>
                  <a:pt x="1273" y="991"/>
                </a:lnTo>
                <a:lnTo>
                  <a:pt x="1258" y="1031"/>
                </a:lnTo>
                <a:lnTo>
                  <a:pt x="1239" y="1070"/>
                </a:lnTo>
                <a:lnTo>
                  <a:pt x="1216" y="1108"/>
                </a:lnTo>
                <a:lnTo>
                  <a:pt x="1189" y="1143"/>
                </a:lnTo>
                <a:lnTo>
                  <a:pt x="1160" y="1174"/>
                </a:lnTo>
                <a:lnTo>
                  <a:pt x="1126" y="1202"/>
                </a:lnTo>
                <a:lnTo>
                  <a:pt x="1091" y="1228"/>
                </a:lnTo>
                <a:lnTo>
                  <a:pt x="1053" y="1248"/>
                </a:lnTo>
                <a:lnTo>
                  <a:pt x="1012" y="1266"/>
                </a:lnTo>
                <a:lnTo>
                  <a:pt x="970" y="1278"/>
                </a:lnTo>
                <a:lnTo>
                  <a:pt x="927" y="1287"/>
                </a:lnTo>
                <a:lnTo>
                  <a:pt x="884" y="1292"/>
                </a:lnTo>
                <a:lnTo>
                  <a:pt x="840" y="1292"/>
                </a:lnTo>
                <a:lnTo>
                  <a:pt x="797" y="1287"/>
                </a:lnTo>
                <a:lnTo>
                  <a:pt x="754" y="1278"/>
                </a:lnTo>
                <a:lnTo>
                  <a:pt x="712" y="1266"/>
                </a:lnTo>
                <a:lnTo>
                  <a:pt x="672" y="1248"/>
                </a:lnTo>
                <a:lnTo>
                  <a:pt x="634" y="1228"/>
                </a:lnTo>
                <a:lnTo>
                  <a:pt x="599" y="1202"/>
                </a:lnTo>
                <a:lnTo>
                  <a:pt x="565" y="1174"/>
                </a:lnTo>
                <a:lnTo>
                  <a:pt x="535" y="1143"/>
                </a:lnTo>
                <a:lnTo>
                  <a:pt x="509" y="1108"/>
                </a:lnTo>
                <a:lnTo>
                  <a:pt x="485" y="1070"/>
                </a:lnTo>
                <a:lnTo>
                  <a:pt x="466" y="1031"/>
                </a:lnTo>
                <a:lnTo>
                  <a:pt x="452" y="991"/>
                </a:lnTo>
                <a:lnTo>
                  <a:pt x="440" y="948"/>
                </a:lnTo>
                <a:lnTo>
                  <a:pt x="433" y="905"/>
                </a:lnTo>
                <a:lnTo>
                  <a:pt x="431" y="861"/>
                </a:lnTo>
                <a:lnTo>
                  <a:pt x="435" y="820"/>
                </a:lnTo>
                <a:lnTo>
                  <a:pt x="442" y="779"/>
                </a:lnTo>
                <a:lnTo>
                  <a:pt x="452" y="739"/>
                </a:lnTo>
                <a:lnTo>
                  <a:pt x="465" y="699"/>
                </a:lnTo>
                <a:lnTo>
                  <a:pt x="481" y="661"/>
                </a:lnTo>
                <a:lnTo>
                  <a:pt x="501" y="624"/>
                </a:lnTo>
                <a:lnTo>
                  <a:pt x="623" y="670"/>
                </a:lnTo>
                <a:lnTo>
                  <a:pt x="560" y="559"/>
                </a:lnTo>
                <a:lnTo>
                  <a:pt x="494" y="447"/>
                </a:lnTo>
                <a:lnTo>
                  <a:pt x="426" y="339"/>
                </a:lnTo>
                <a:lnTo>
                  <a:pt x="285" y="350"/>
                </a:lnTo>
                <a:lnTo>
                  <a:pt x="146" y="365"/>
                </a:lnTo>
                <a:lnTo>
                  <a:pt x="6" y="382"/>
                </a:lnTo>
                <a:lnTo>
                  <a:pt x="106" y="450"/>
                </a:lnTo>
              </a:path>
            </a:pathLst>
          </a:custGeom>
          <a:solidFill>
            <a:schemeClr val="tx2"/>
          </a:solidFill>
          <a:ln w="9525" cap="rnd" cmpd="sng">
            <a:solidFill>
              <a:schemeClr val="bg1"/>
            </a:solidFill>
            <a:prstDash val="solid"/>
            <a:round/>
            <a:headEnd type="none" w="sm" len="sm"/>
            <a:tailEnd type="none" w="sm" len="sm"/>
          </a:ln>
          <a:effectLst/>
        </p:spPr>
        <p:txBody>
          <a:bodyPr anchor="ctr" anchorCtr="0">
            <a:prstTxWarp prst="textNoShape">
              <a:avLst/>
            </a:prstTxWarp>
          </a:bodyPr>
          <a:lstStyle/>
          <a:p>
            <a:endParaRPr lang="en-GB" sz="1600" dirty="0">
              <a:solidFill>
                <a:srgbClr val="FFFFFF"/>
              </a:solidFill>
              <a:latin typeface="Garamond"/>
            </a:endParaRPr>
          </a:p>
        </p:txBody>
      </p:sp>
      <p:sp>
        <p:nvSpPr>
          <p:cNvPr id="21" name="Rectangle 5"/>
          <p:cNvSpPr>
            <a:spLocks noChangeArrowheads="1"/>
          </p:cNvSpPr>
          <p:nvPr/>
        </p:nvSpPr>
        <p:spPr bwMode="auto">
          <a:xfrm>
            <a:off x="4320921" y="3758153"/>
            <a:ext cx="650537" cy="249093"/>
          </a:xfrm>
          <a:prstGeom prst="rect">
            <a:avLst/>
          </a:prstGeom>
          <a:noFill/>
          <a:ln w="9525">
            <a:noFill/>
            <a:miter lim="800000"/>
            <a:headEnd/>
            <a:tailEnd/>
          </a:ln>
          <a:effectLst/>
        </p:spPr>
        <p:txBody>
          <a:bodyPr lIns="0" tIns="0" rIns="0" bIns="0" anchor="ctr" anchorCtr="1">
            <a:prstTxWarp prst="textNoShape">
              <a:avLst/>
            </a:prstTxWarp>
            <a:spAutoFit/>
          </a:bodyPr>
          <a:lstStyle/>
          <a:p>
            <a:pPr defTabSz="690156">
              <a:buClr>
                <a:schemeClr val="accent1"/>
              </a:buClr>
            </a:pPr>
            <a:r>
              <a:rPr lang="en-AU" sz="1600" dirty="0">
                <a:solidFill>
                  <a:srgbClr val="53534D"/>
                </a:solidFill>
                <a:latin typeface="Garamond"/>
              </a:rPr>
              <a:t>Text</a:t>
            </a:r>
          </a:p>
        </p:txBody>
      </p:sp>
      <p:sp>
        <p:nvSpPr>
          <p:cNvPr id="22" name="Rectangle 6"/>
          <p:cNvSpPr>
            <a:spLocks noChangeArrowheads="1"/>
          </p:cNvSpPr>
          <p:nvPr/>
        </p:nvSpPr>
        <p:spPr bwMode="auto">
          <a:xfrm>
            <a:off x="4319522" y="2554439"/>
            <a:ext cx="651937" cy="249093"/>
          </a:xfrm>
          <a:prstGeom prst="rect">
            <a:avLst/>
          </a:prstGeom>
          <a:noFill/>
          <a:ln w="9525">
            <a:noFill/>
            <a:miter lim="800000"/>
            <a:headEnd/>
            <a:tailEnd/>
          </a:ln>
          <a:effectLst/>
        </p:spPr>
        <p:txBody>
          <a:bodyPr lIns="0" tIns="0" rIns="0" bIns="0" anchor="ctr" anchorCtr="1">
            <a:prstTxWarp prst="textNoShape">
              <a:avLst/>
            </a:prstTxWarp>
            <a:spAutoFit/>
          </a:bodyPr>
          <a:lstStyle/>
          <a:p>
            <a:pPr defTabSz="690156">
              <a:buClr>
                <a:schemeClr val="accent1"/>
              </a:buClr>
            </a:pPr>
            <a:r>
              <a:rPr lang="en-AU" sz="1600" dirty="0">
                <a:solidFill>
                  <a:srgbClr val="FFFFFF"/>
                </a:solidFill>
                <a:latin typeface="Garamond"/>
              </a:rPr>
              <a:t>Text</a:t>
            </a:r>
          </a:p>
        </p:txBody>
      </p:sp>
      <p:sp>
        <p:nvSpPr>
          <p:cNvPr id="23" name="Rectangle 7"/>
          <p:cNvSpPr>
            <a:spLocks noChangeArrowheads="1"/>
          </p:cNvSpPr>
          <p:nvPr/>
        </p:nvSpPr>
        <p:spPr bwMode="auto">
          <a:xfrm>
            <a:off x="4319522" y="4867926"/>
            <a:ext cx="651937" cy="251236"/>
          </a:xfrm>
          <a:prstGeom prst="rect">
            <a:avLst/>
          </a:prstGeom>
          <a:noFill/>
          <a:ln w="9525">
            <a:noFill/>
            <a:miter lim="800000"/>
            <a:headEnd/>
            <a:tailEnd/>
          </a:ln>
          <a:effectLst/>
        </p:spPr>
        <p:txBody>
          <a:bodyPr lIns="0" tIns="0" rIns="0" bIns="0" anchor="ctr" anchorCtr="1">
            <a:prstTxWarp prst="textNoShape">
              <a:avLst/>
            </a:prstTxWarp>
            <a:spAutoFit/>
          </a:bodyPr>
          <a:lstStyle/>
          <a:p>
            <a:pPr defTabSz="690156">
              <a:buClr>
                <a:schemeClr val="accent1"/>
              </a:buClr>
            </a:pPr>
            <a:r>
              <a:rPr lang="en-AU" sz="1600" dirty="0">
                <a:solidFill>
                  <a:srgbClr val="FFFFFF"/>
                </a:solidFill>
                <a:latin typeface="Garamond"/>
              </a:rPr>
              <a:t>Text</a:t>
            </a:r>
          </a:p>
        </p:txBody>
      </p:sp>
      <p:sp>
        <p:nvSpPr>
          <p:cNvPr id="24" name="Title 3"/>
          <p:cNvSpPr txBox="1">
            <a:spLocks/>
          </p:cNvSpPr>
          <p:nvPr>
            <p:custDataLst>
              <p:tags r:id="rId3"/>
            </p:custDataLst>
          </p:nvPr>
        </p:nvSpPr>
        <p:spPr>
          <a:xfrm>
            <a:off x="754204" y="5545148"/>
            <a:ext cx="6891495" cy="822961"/>
          </a:xfrm>
          <a:prstGeom prst="rect">
            <a:avLst/>
          </a:prstGeom>
        </p:spPr>
        <p:txBody>
          <a:bodyPr vert="horz" lIns="80133" tIns="40067" rIns="80133" bIns="40067" rtlCol="0" anchor="b" anchorCtr="0">
            <a:normAutofit/>
          </a:bodyPr>
          <a:lstStyle>
            <a:lvl1pPr algn="l" defTabSz="914239" rtl="0" eaLnBrk="1" latinLnBrk="0" hangingPunct="1">
              <a:spcBef>
                <a:spcPct val="0"/>
              </a:spcBef>
              <a:buNone/>
              <a:defRPr sz="2800" kern="1200">
                <a:solidFill>
                  <a:schemeClr val="accent1"/>
                </a:solidFill>
                <a:latin typeface="Garamond" pitchFamily="18" charset="0"/>
                <a:ea typeface="+mj-ea"/>
                <a:cs typeface="+mj-cs"/>
              </a:defRPr>
            </a:lvl1pPr>
          </a:lstStyle>
          <a:p>
            <a:r>
              <a:rPr lang="en-GB" sz="1200" dirty="0">
                <a:solidFill>
                  <a:schemeClr val="tx2"/>
                </a:solidFill>
              </a:rPr>
              <a:t>Footnotes and assumptions: list</a:t>
            </a:r>
          </a:p>
          <a:p>
            <a:r>
              <a:rPr lang="en-GB" sz="1200" dirty="0">
                <a:solidFill>
                  <a:schemeClr val="tx2"/>
                </a:solidFill>
              </a:rPr>
              <a:t>Source: List sources</a:t>
            </a:r>
          </a:p>
        </p:txBody>
      </p:sp>
      <p:sp>
        <p:nvSpPr>
          <p:cNvPr id="25" name="Rectangle 4"/>
          <p:cNvSpPr>
            <a:spLocks noGrp="1" noChangeArrowheads="1"/>
          </p:cNvSpPr>
          <p:nvPr>
            <p:ph type="title"/>
            <p:custDataLst>
              <p:tags r:id="rId4"/>
            </p:custDataLst>
          </p:nvPr>
        </p:nvSpPr>
        <p:spPr/>
        <p:txBody>
          <a:bodyPr/>
          <a:lstStyle/>
          <a:p>
            <a:r>
              <a:rPr lang="en-GB" dirty="0" smtClean="0"/>
              <a:t>Message title – </a:t>
            </a:r>
            <a:r>
              <a:rPr lang="en-US" dirty="0" smtClean="0"/>
              <a:t>why are you showing it? </a:t>
            </a:r>
            <a:r>
              <a:rPr lang="en-US" dirty="0"/>
              <a:t>c</a:t>
            </a:r>
            <a:r>
              <a:rPr lang="en-US" dirty="0" smtClean="0"/>
              <a:t>ircle flow</a:t>
            </a:r>
            <a:endParaRPr lang="en-GB" dirty="0"/>
          </a:p>
        </p:txBody>
      </p:sp>
      <p:sp>
        <p:nvSpPr>
          <p:cNvPr id="5" name="Footer Placeholder 4"/>
          <p:cNvSpPr>
            <a:spLocks noGrp="1"/>
          </p:cNvSpPr>
          <p:nvPr>
            <p:ph type="ftr" sz="quarter" idx="3"/>
          </p:nvPr>
        </p:nvSpPr>
        <p:spPr/>
        <p:txBody>
          <a:bodyPr/>
          <a:lstStyle/>
          <a:p>
            <a:r>
              <a:rPr lang="en-US" dirty="0" smtClean="0"/>
              <a:t>neil young |neil@ogcommunicationdesign.com |www.ogcommunicationdesign.com</a:t>
            </a:r>
            <a:endParaRPr lang="en-US" dirty="0"/>
          </a:p>
        </p:txBody>
      </p:sp>
      <p:sp>
        <p:nvSpPr>
          <p:cNvPr id="27" name="Slide Number Placeholder 1"/>
          <p:cNvSpPr>
            <a:spLocks noGrp="1"/>
          </p:cNvSpPr>
          <p:nvPr>
            <p:ph type="sldNum" sz="quarter" idx="4"/>
            <p:custDataLst>
              <p:tags r:id="rId5"/>
            </p:custDataLst>
          </p:nvPr>
        </p:nvSpPr>
        <p:spPr/>
        <p:txBody>
          <a:bodyPr/>
          <a:lstStyle/>
          <a:p>
            <a:fld id="{9EA32989-03B0-4860-BCBF-38A6D1811E33}" type="slidenum">
              <a:rPr lang="en-GB" smtClean="0"/>
              <a:pPr/>
              <a:t>26</a:t>
            </a:fld>
            <a:endParaRPr lang="en-GB" dirty="0"/>
          </a:p>
        </p:txBody>
      </p:sp>
      <p:sp>
        <p:nvSpPr>
          <p:cNvPr id="13" name="TextBox 12"/>
          <p:cNvSpPr txBox="1"/>
          <p:nvPr>
            <p:custDataLst>
              <p:tags r:id="rId6"/>
            </p:custDataLst>
          </p:nvPr>
        </p:nvSpPr>
        <p:spPr>
          <a:xfrm>
            <a:off x="755338" y="1481982"/>
            <a:ext cx="7606753" cy="362896"/>
          </a:xfrm>
          <a:prstGeom prst="rect">
            <a:avLst/>
          </a:prstGeom>
          <a:noFill/>
        </p:spPr>
        <p:txBody>
          <a:bodyPr wrap="square" lIns="80147" tIns="40074" rIns="80147" bIns="40074" rtlCol="0">
            <a:spAutoFit/>
          </a:bodyPr>
          <a:lstStyle/>
          <a:p>
            <a:r>
              <a:rPr lang="en-ZW" dirty="0">
                <a:latin typeface="Garamond" pitchFamily="18" charset="0"/>
              </a:rPr>
              <a:t>Title – what are you showing on this page?</a:t>
            </a:r>
          </a:p>
        </p:txBody>
      </p:sp>
    </p:spTree>
    <p:extLst>
      <p:ext uri="{BB962C8B-B14F-4D97-AF65-F5344CB8AC3E}">
        <p14:creationId xmlns:p14="http://schemas.microsoft.com/office/powerpoint/2010/main" val="127169332"/>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6049420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89" name="think-cell Slide" r:id="rId8" imgW="6350000" imgH="6350000" progId="TCLayout.ActiveDocument.1">
                  <p:embed/>
                </p:oleObj>
              </mc:Choice>
              <mc:Fallback>
                <p:oleObj name="think-cell Slide" r:id="rId8" imgW="6350000" imgH="6350000" progId="TCLayout.ActiveDocument.1">
                  <p:embed/>
                  <p:pic>
                    <p:nvPicPr>
                      <p:cNvPr id="0" name="Picture 10"/>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AutoShape 16"/>
          <p:cNvSpPr>
            <a:spLocks noChangeArrowheads="1"/>
          </p:cNvSpPr>
          <p:nvPr/>
        </p:nvSpPr>
        <p:spPr bwMode="gray">
          <a:xfrm>
            <a:off x="4588999" y="2323196"/>
            <a:ext cx="1887255" cy="963613"/>
          </a:xfrm>
          <a:prstGeom prst="homePlate">
            <a:avLst>
              <a:gd name="adj" fmla="val 26689"/>
            </a:avLst>
          </a:prstGeom>
          <a:solidFill>
            <a:schemeClr val="tx2"/>
          </a:solidFill>
          <a:ln w="9525">
            <a:solidFill>
              <a:schemeClr val="bg1"/>
            </a:solidFill>
            <a:miter lim="800000"/>
            <a:headEnd/>
            <a:tailEnd/>
          </a:ln>
          <a:effectLst/>
        </p:spPr>
        <p:txBody>
          <a:bodyPr lIns="80147" tIns="40074" rIns="80147" bIns="40074">
            <a:prstTxWarp prst="textNoShape">
              <a:avLst/>
            </a:prstTxWarp>
          </a:bodyPr>
          <a:lstStyle/>
          <a:p>
            <a:r>
              <a:rPr lang="nb-NO" sz="1600" dirty="0">
                <a:solidFill>
                  <a:schemeClr val="bg1"/>
                </a:solidFill>
                <a:latin typeface="Garamond"/>
              </a:rPr>
              <a:t>Text</a:t>
            </a:r>
            <a:endParaRPr lang="en-US" sz="1600" dirty="0">
              <a:solidFill>
                <a:schemeClr val="bg1"/>
              </a:solidFill>
              <a:latin typeface="Garamond"/>
            </a:endParaRPr>
          </a:p>
        </p:txBody>
      </p:sp>
      <p:sp>
        <p:nvSpPr>
          <p:cNvPr id="11" name="AutoShape 15"/>
          <p:cNvSpPr>
            <a:spLocks noChangeArrowheads="1"/>
          </p:cNvSpPr>
          <p:nvPr/>
        </p:nvSpPr>
        <p:spPr bwMode="gray">
          <a:xfrm>
            <a:off x="2701745" y="2323196"/>
            <a:ext cx="1887254" cy="963613"/>
          </a:xfrm>
          <a:prstGeom prst="homePlate">
            <a:avLst>
              <a:gd name="adj" fmla="val 26689"/>
            </a:avLst>
          </a:prstGeom>
          <a:solidFill>
            <a:schemeClr val="accent1"/>
          </a:solidFill>
          <a:ln w="9525">
            <a:solidFill>
              <a:schemeClr val="bg1"/>
            </a:solidFill>
            <a:round/>
            <a:headEnd/>
            <a:tailEnd/>
          </a:ln>
          <a:effectLst/>
        </p:spPr>
        <p:txBody>
          <a:bodyPr lIns="91424" tIns="45712" rIns="91424" bIns="45712" anchor="t" anchorCtr="0">
            <a:prstTxWarp prst="textNoShape">
              <a:avLst/>
            </a:prstTxWarp>
          </a:bodyPr>
          <a:lstStyle/>
          <a:p>
            <a:r>
              <a:rPr lang="nb-NO" sz="1600" dirty="0">
                <a:solidFill>
                  <a:srgbClr val="FFFFFF"/>
                </a:solidFill>
                <a:latin typeface="Garamond"/>
              </a:rPr>
              <a:t>Text</a:t>
            </a:r>
            <a:endParaRPr lang="en-US" sz="1600" dirty="0">
              <a:solidFill>
                <a:srgbClr val="FFFFFF"/>
              </a:solidFill>
              <a:latin typeface="Garamond"/>
            </a:endParaRPr>
          </a:p>
        </p:txBody>
      </p:sp>
      <p:sp>
        <p:nvSpPr>
          <p:cNvPr id="12" name="AutoShape 14"/>
          <p:cNvSpPr>
            <a:spLocks noChangeArrowheads="1"/>
          </p:cNvSpPr>
          <p:nvPr/>
        </p:nvSpPr>
        <p:spPr bwMode="gray">
          <a:xfrm>
            <a:off x="814489" y="2323196"/>
            <a:ext cx="1887255" cy="963613"/>
          </a:xfrm>
          <a:prstGeom prst="homePlate">
            <a:avLst>
              <a:gd name="adj" fmla="val 26689"/>
            </a:avLst>
          </a:prstGeom>
          <a:solidFill>
            <a:schemeClr val="tx2"/>
          </a:solidFill>
          <a:ln w="9525">
            <a:solidFill>
              <a:schemeClr val="bg1"/>
            </a:solidFill>
            <a:miter lim="800000"/>
            <a:headEnd/>
            <a:tailEnd/>
          </a:ln>
          <a:effectLst/>
        </p:spPr>
        <p:txBody>
          <a:bodyPr lIns="80147" tIns="40074" rIns="80147" bIns="40074">
            <a:prstTxWarp prst="textNoShape">
              <a:avLst/>
            </a:prstTxWarp>
          </a:bodyPr>
          <a:lstStyle/>
          <a:p>
            <a:r>
              <a:rPr lang="nb-NO" sz="1600" dirty="0">
                <a:solidFill>
                  <a:schemeClr val="bg1"/>
                </a:solidFill>
                <a:latin typeface="Garamond"/>
              </a:rPr>
              <a:t>Text</a:t>
            </a:r>
            <a:endParaRPr lang="en-US" sz="1600" dirty="0">
              <a:solidFill>
                <a:schemeClr val="bg1"/>
              </a:solidFill>
              <a:latin typeface="Garamond"/>
            </a:endParaRPr>
          </a:p>
        </p:txBody>
      </p:sp>
      <p:sp>
        <p:nvSpPr>
          <p:cNvPr id="13" name="AutoShape 8"/>
          <p:cNvSpPr>
            <a:spLocks noChangeArrowheads="1"/>
          </p:cNvSpPr>
          <p:nvPr/>
        </p:nvSpPr>
        <p:spPr bwMode="gray">
          <a:xfrm>
            <a:off x="6474835" y="2323196"/>
            <a:ext cx="1887255" cy="963613"/>
          </a:xfrm>
          <a:prstGeom prst="homePlate">
            <a:avLst>
              <a:gd name="adj" fmla="val 26689"/>
            </a:avLst>
          </a:prstGeom>
          <a:solidFill>
            <a:schemeClr val="tx2"/>
          </a:solidFill>
          <a:ln w="9525">
            <a:solidFill>
              <a:schemeClr val="bg1"/>
            </a:solidFill>
            <a:miter lim="800000"/>
            <a:headEnd/>
            <a:tailEnd/>
          </a:ln>
          <a:effectLst/>
        </p:spPr>
        <p:txBody>
          <a:bodyPr lIns="80147" tIns="40074" rIns="80147" bIns="40074">
            <a:prstTxWarp prst="textNoShape">
              <a:avLst/>
            </a:prstTxWarp>
          </a:bodyPr>
          <a:lstStyle/>
          <a:p>
            <a:r>
              <a:rPr lang="nb-NO" sz="1600" dirty="0">
                <a:solidFill>
                  <a:schemeClr val="bg1"/>
                </a:solidFill>
                <a:latin typeface="Garamond"/>
              </a:rPr>
              <a:t>Text</a:t>
            </a:r>
            <a:endParaRPr lang="en-US" sz="1600" dirty="0">
              <a:solidFill>
                <a:schemeClr val="bg1"/>
              </a:solidFill>
              <a:latin typeface="Garamond"/>
            </a:endParaRPr>
          </a:p>
        </p:txBody>
      </p:sp>
      <p:sp>
        <p:nvSpPr>
          <p:cNvPr id="14" name="AutoShape 17"/>
          <p:cNvSpPr>
            <a:spLocks noChangeArrowheads="1"/>
          </p:cNvSpPr>
          <p:nvPr/>
        </p:nvSpPr>
        <p:spPr bwMode="gray">
          <a:xfrm>
            <a:off x="1249027" y="4064684"/>
            <a:ext cx="1512361" cy="963612"/>
          </a:xfrm>
          <a:prstGeom prst="homePlate">
            <a:avLst>
              <a:gd name="adj" fmla="val 26919"/>
            </a:avLst>
          </a:prstGeom>
          <a:solidFill>
            <a:schemeClr val="accent1"/>
          </a:solidFill>
          <a:ln w="9525">
            <a:solidFill>
              <a:schemeClr val="bg1"/>
            </a:solidFill>
            <a:round/>
            <a:headEnd/>
            <a:tailEnd/>
          </a:ln>
          <a:effectLst/>
        </p:spPr>
        <p:txBody>
          <a:bodyPr lIns="91424" tIns="45712" rIns="91424" bIns="45712" anchor="t" anchorCtr="0">
            <a:prstTxWarp prst="textNoShape">
              <a:avLst/>
            </a:prstTxWarp>
          </a:bodyPr>
          <a:lstStyle/>
          <a:p>
            <a:r>
              <a:rPr lang="nb-NO" sz="1600" dirty="0">
                <a:solidFill>
                  <a:srgbClr val="FFFFFF"/>
                </a:solidFill>
                <a:latin typeface="Garamond"/>
              </a:rPr>
              <a:t>Text</a:t>
            </a:r>
            <a:endParaRPr lang="en-US" sz="1600" dirty="0">
              <a:solidFill>
                <a:srgbClr val="FFFFFF"/>
              </a:solidFill>
              <a:latin typeface="Garamond"/>
            </a:endParaRPr>
          </a:p>
        </p:txBody>
      </p:sp>
      <p:sp>
        <p:nvSpPr>
          <p:cNvPr id="15" name="AutoShape 18"/>
          <p:cNvSpPr>
            <a:spLocks noChangeArrowheads="1"/>
          </p:cNvSpPr>
          <p:nvPr/>
        </p:nvSpPr>
        <p:spPr bwMode="gray">
          <a:xfrm>
            <a:off x="2761387" y="4064684"/>
            <a:ext cx="1510940" cy="963612"/>
          </a:xfrm>
          <a:prstGeom prst="homePlate">
            <a:avLst>
              <a:gd name="adj" fmla="val 26894"/>
            </a:avLst>
          </a:prstGeom>
          <a:solidFill>
            <a:schemeClr val="accent1"/>
          </a:solidFill>
          <a:ln w="9525">
            <a:solidFill>
              <a:schemeClr val="bg1"/>
            </a:solidFill>
            <a:round/>
            <a:headEnd/>
            <a:tailEnd/>
          </a:ln>
          <a:effectLst/>
        </p:spPr>
        <p:txBody>
          <a:bodyPr lIns="91424" tIns="45712" rIns="91424" bIns="45712" anchor="t" anchorCtr="0">
            <a:prstTxWarp prst="textNoShape">
              <a:avLst/>
            </a:prstTxWarp>
          </a:bodyPr>
          <a:lstStyle/>
          <a:p>
            <a:r>
              <a:rPr lang="nb-NO" sz="1600" dirty="0">
                <a:solidFill>
                  <a:srgbClr val="FFFFFF"/>
                </a:solidFill>
                <a:latin typeface="Garamond"/>
              </a:rPr>
              <a:t>Text</a:t>
            </a:r>
            <a:endParaRPr lang="en-US" sz="1600" dirty="0">
              <a:solidFill>
                <a:srgbClr val="FFFFFF"/>
              </a:solidFill>
              <a:latin typeface="Garamond"/>
            </a:endParaRPr>
          </a:p>
        </p:txBody>
      </p:sp>
      <p:sp>
        <p:nvSpPr>
          <p:cNvPr id="16" name="AutoShape 19"/>
          <p:cNvSpPr>
            <a:spLocks noChangeArrowheads="1"/>
          </p:cNvSpPr>
          <p:nvPr/>
        </p:nvSpPr>
        <p:spPr bwMode="gray">
          <a:xfrm>
            <a:off x="4272327" y="4064684"/>
            <a:ext cx="1510940" cy="963612"/>
          </a:xfrm>
          <a:prstGeom prst="homePlate">
            <a:avLst>
              <a:gd name="adj" fmla="val 26894"/>
            </a:avLst>
          </a:prstGeom>
          <a:solidFill>
            <a:schemeClr val="accent1"/>
          </a:solidFill>
          <a:ln w="9525">
            <a:solidFill>
              <a:schemeClr val="bg1"/>
            </a:solidFill>
            <a:round/>
            <a:headEnd/>
            <a:tailEnd/>
          </a:ln>
          <a:effectLst/>
        </p:spPr>
        <p:txBody>
          <a:bodyPr lIns="91424" tIns="45712" rIns="91424" bIns="45712" anchor="t" anchorCtr="0">
            <a:prstTxWarp prst="textNoShape">
              <a:avLst/>
            </a:prstTxWarp>
          </a:bodyPr>
          <a:lstStyle/>
          <a:p>
            <a:r>
              <a:rPr lang="nb-NO" sz="1600" dirty="0">
                <a:solidFill>
                  <a:srgbClr val="FFFFFF"/>
                </a:solidFill>
                <a:latin typeface="Garamond"/>
              </a:rPr>
              <a:t>Text</a:t>
            </a:r>
            <a:endParaRPr lang="en-US" sz="1600" dirty="0">
              <a:solidFill>
                <a:srgbClr val="FFFFFF"/>
              </a:solidFill>
              <a:latin typeface="Garamond"/>
            </a:endParaRPr>
          </a:p>
        </p:txBody>
      </p:sp>
      <p:sp>
        <p:nvSpPr>
          <p:cNvPr id="17" name="Line 20"/>
          <p:cNvSpPr>
            <a:spLocks noChangeShapeType="1"/>
          </p:cNvSpPr>
          <p:nvPr/>
        </p:nvSpPr>
        <p:spPr bwMode="gray">
          <a:xfrm flipV="1">
            <a:off x="1251867" y="3278871"/>
            <a:ext cx="1459818" cy="763588"/>
          </a:xfrm>
          <a:prstGeom prst="line">
            <a:avLst/>
          </a:prstGeom>
          <a:noFill/>
          <a:ln w="9525">
            <a:solidFill>
              <a:schemeClr val="tx1"/>
            </a:solidFill>
            <a:prstDash val="dash"/>
            <a:round/>
            <a:headEnd/>
            <a:tailEnd/>
          </a:ln>
          <a:effectLst/>
        </p:spPr>
        <p:txBody>
          <a:bodyPr lIns="104306" tIns="52153" rIns="104306" bIns="52153">
            <a:prstTxWarp prst="textNoShape">
              <a:avLst/>
            </a:prstTxWarp>
          </a:bodyPr>
          <a:lstStyle/>
          <a:p>
            <a:endParaRPr lang="en-GB" dirty="0">
              <a:latin typeface="Garamond"/>
            </a:endParaRPr>
          </a:p>
        </p:txBody>
      </p:sp>
      <p:sp>
        <p:nvSpPr>
          <p:cNvPr id="18" name="Line 21"/>
          <p:cNvSpPr>
            <a:spLocks noChangeShapeType="1"/>
          </p:cNvSpPr>
          <p:nvPr/>
        </p:nvSpPr>
        <p:spPr bwMode="gray">
          <a:xfrm flipH="1" flipV="1">
            <a:off x="4329130" y="3291571"/>
            <a:ext cx="1216988" cy="750888"/>
          </a:xfrm>
          <a:prstGeom prst="line">
            <a:avLst/>
          </a:prstGeom>
          <a:noFill/>
          <a:ln w="9525">
            <a:solidFill>
              <a:schemeClr val="tx1"/>
            </a:solidFill>
            <a:prstDash val="dash"/>
            <a:round/>
            <a:headEnd/>
            <a:tailEnd/>
          </a:ln>
          <a:effectLst/>
        </p:spPr>
        <p:txBody>
          <a:bodyPr lIns="104306" tIns="52153" rIns="104306" bIns="52153">
            <a:prstTxWarp prst="textNoShape">
              <a:avLst/>
            </a:prstTxWarp>
          </a:bodyPr>
          <a:lstStyle/>
          <a:p>
            <a:endParaRPr lang="en-GB" dirty="0">
              <a:latin typeface="Garamond"/>
            </a:endParaRPr>
          </a:p>
        </p:txBody>
      </p:sp>
      <p:sp>
        <p:nvSpPr>
          <p:cNvPr id="19" name="Rectangle 27"/>
          <p:cNvSpPr>
            <a:spLocks noChangeArrowheads="1"/>
          </p:cNvSpPr>
          <p:nvPr/>
        </p:nvSpPr>
        <p:spPr bwMode="gray">
          <a:xfrm>
            <a:off x="1249027" y="5098147"/>
            <a:ext cx="1273791" cy="351546"/>
          </a:xfrm>
          <a:prstGeom prst="rect">
            <a:avLst/>
          </a:prstGeom>
          <a:noFill/>
          <a:ln w="9525">
            <a:noFill/>
            <a:miter lim="800000"/>
            <a:headEnd/>
            <a:tailEnd/>
          </a:ln>
          <a:effectLst/>
        </p:spPr>
        <p:txBody>
          <a:bodyPr wrap="square" lIns="104306" tIns="52153" rIns="104306" bIns="52153">
            <a:prstTxWarp prst="textNoShape">
              <a:avLst/>
            </a:prstTxWarp>
            <a:spAutoFit/>
          </a:bodyPr>
          <a:lstStyle/>
          <a:p>
            <a:pPr marL="269827" indent="-269827">
              <a:buFont typeface="Arial"/>
              <a:buChar char="•"/>
            </a:pPr>
            <a:r>
              <a:rPr lang="en-US" sz="1600" dirty="0">
                <a:solidFill>
                  <a:schemeClr val="tx2"/>
                </a:solidFill>
                <a:latin typeface="Garamond"/>
              </a:rPr>
              <a:t>Text</a:t>
            </a:r>
          </a:p>
        </p:txBody>
      </p:sp>
      <p:sp>
        <p:nvSpPr>
          <p:cNvPr id="20" name="Rectangle 28"/>
          <p:cNvSpPr>
            <a:spLocks noChangeArrowheads="1"/>
          </p:cNvSpPr>
          <p:nvPr/>
        </p:nvSpPr>
        <p:spPr bwMode="gray">
          <a:xfrm>
            <a:off x="2761387" y="5098147"/>
            <a:ext cx="1273790" cy="351546"/>
          </a:xfrm>
          <a:prstGeom prst="rect">
            <a:avLst/>
          </a:prstGeom>
          <a:noFill/>
          <a:ln w="9525">
            <a:noFill/>
            <a:miter lim="800000"/>
            <a:headEnd/>
            <a:tailEnd/>
          </a:ln>
          <a:effectLst/>
        </p:spPr>
        <p:txBody>
          <a:bodyPr wrap="square" lIns="104306" tIns="52153" rIns="104306" bIns="52153">
            <a:prstTxWarp prst="textNoShape">
              <a:avLst/>
            </a:prstTxWarp>
            <a:spAutoFit/>
          </a:bodyPr>
          <a:lstStyle/>
          <a:p>
            <a:pPr marL="269827" indent="-269827">
              <a:buFont typeface="Arial"/>
              <a:buChar char="•"/>
            </a:pPr>
            <a:r>
              <a:rPr lang="en-US" sz="1600" dirty="0">
                <a:solidFill>
                  <a:schemeClr val="tx2"/>
                </a:solidFill>
                <a:latin typeface="Garamond"/>
              </a:rPr>
              <a:t>Text</a:t>
            </a:r>
          </a:p>
        </p:txBody>
      </p:sp>
      <p:sp>
        <p:nvSpPr>
          <p:cNvPr id="21" name="Rectangle 29"/>
          <p:cNvSpPr>
            <a:spLocks noChangeArrowheads="1"/>
          </p:cNvSpPr>
          <p:nvPr/>
        </p:nvSpPr>
        <p:spPr bwMode="gray">
          <a:xfrm>
            <a:off x="4272328" y="5098147"/>
            <a:ext cx="1273790" cy="351546"/>
          </a:xfrm>
          <a:prstGeom prst="rect">
            <a:avLst/>
          </a:prstGeom>
          <a:noFill/>
          <a:ln w="9525">
            <a:noFill/>
            <a:miter lim="800000"/>
            <a:headEnd/>
            <a:tailEnd/>
          </a:ln>
          <a:effectLst/>
        </p:spPr>
        <p:txBody>
          <a:bodyPr wrap="square" lIns="104306" tIns="52153" rIns="104306" bIns="52153">
            <a:prstTxWarp prst="textNoShape">
              <a:avLst/>
            </a:prstTxWarp>
            <a:spAutoFit/>
          </a:bodyPr>
          <a:lstStyle/>
          <a:p>
            <a:pPr marL="269827" indent="-269827">
              <a:buFont typeface="Arial"/>
              <a:buChar char="•"/>
            </a:pPr>
            <a:r>
              <a:rPr lang="en-US" sz="1600" dirty="0">
                <a:solidFill>
                  <a:schemeClr val="tx2"/>
                </a:solidFill>
                <a:latin typeface="Garamond"/>
              </a:rPr>
              <a:t>Text</a:t>
            </a:r>
          </a:p>
        </p:txBody>
      </p:sp>
      <p:sp>
        <p:nvSpPr>
          <p:cNvPr id="23" name="Title 3"/>
          <p:cNvSpPr txBox="1">
            <a:spLocks/>
          </p:cNvSpPr>
          <p:nvPr>
            <p:custDataLst>
              <p:tags r:id="rId3"/>
            </p:custDataLst>
          </p:nvPr>
        </p:nvSpPr>
        <p:spPr bwMode="gray">
          <a:xfrm>
            <a:off x="754204" y="5545148"/>
            <a:ext cx="6891495" cy="822961"/>
          </a:xfrm>
          <a:prstGeom prst="rect">
            <a:avLst/>
          </a:prstGeom>
        </p:spPr>
        <p:txBody>
          <a:bodyPr vert="horz" lIns="80133" tIns="40067" rIns="80133" bIns="40067" rtlCol="0" anchor="b" anchorCtr="0">
            <a:normAutofit/>
          </a:bodyPr>
          <a:lstStyle>
            <a:lvl1pPr algn="l" defTabSz="914239" rtl="0" eaLnBrk="1" latinLnBrk="0" hangingPunct="1">
              <a:spcBef>
                <a:spcPct val="0"/>
              </a:spcBef>
              <a:buNone/>
              <a:defRPr sz="2800" kern="1200">
                <a:solidFill>
                  <a:schemeClr val="accent1"/>
                </a:solidFill>
                <a:latin typeface="Garamond" pitchFamily="18" charset="0"/>
                <a:ea typeface="+mj-ea"/>
                <a:cs typeface="+mj-cs"/>
              </a:defRPr>
            </a:lvl1pPr>
          </a:lstStyle>
          <a:p>
            <a:r>
              <a:rPr lang="en-GB" sz="1200" dirty="0">
                <a:solidFill>
                  <a:schemeClr val="tx2"/>
                </a:solidFill>
              </a:rPr>
              <a:t>Footnotes and assumptions: list</a:t>
            </a:r>
          </a:p>
          <a:p>
            <a:r>
              <a:rPr lang="en-GB" sz="1200" dirty="0">
                <a:solidFill>
                  <a:schemeClr val="tx2"/>
                </a:solidFill>
              </a:rPr>
              <a:t>Source: List sources</a:t>
            </a:r>
          </a:p>
        </p:txBody>
      </p:sp>
      <p:sp>
        <p:nvSpPr>
          <p:cNvPr id="24" name="Rectangle 4"/>
          <p:cNvSpPr>
            <a:spLocks noGrp="1" noChangeArrowheads="1"/>
          </p:cNvSpPr>
          <p:nvPr>
            <p:ph type="title"/>
            <p:custDataLst>
              <p:tags r:id="rId4"/>
            </p:custDataLst>
          </p:nvPr>
        </p:nvSpPr>
        <p:spPr bwMode="gray"/>
        <p:txBody>
          <a:bodyPr/>
          <a:lstStyle/>
          <a:p>
            <a:r>
              <a:rPr lang="en-GB" dirty="0" smtClean="0"/>
              <a:t>Message title – </a:t>
            </a:r>
            <a:r>
              <a:rPr lang="en-US" dirty="0" smtClean="0"/>
              <a:t>why are you showing it? flow</a:t>
            </a:r>
            <a:endParaRPr lang="en-GB" dirty="0"/>
          </a:p>
        </p:txBody>
      </p:sp>
      <p:sp>
        <p:nvSpPr>
          <p:cNvPr id="5" name="Footer Placeholder 4"/>
          <p:cNvSpPr>
            <a:spLocks noGrp="1"/>
          </p:cNvSpPr>
          <p:nvPr>
            <p:ph type="ftr" sz="quarter" idx="3"/>
          </p:nvPr>
        </p:nvSpPr>
        <p:spPr bwMode="gray"/>
        <p:txBody>
          <a:bodyPr/>
          <a:lstStyle/>
          <a:p>
            <a:r>
              <a:rPr lang="en-US" dirty="0" smtClean="0"/>
              <a:t>neil young |neil@ogcommunicationdesign.com |www.ogcommunicationdesign.com</a:t>
            </a:r>
            <a:endParaRPr lang="en-US" dirty="0"/>
          </a:p>
        </p:txBody>
      </p:sp>
      <p:sp>
        <p:nvSpPr>
          <p:cNvPr id="29" name="Slide Number Placeholder 28"/>
          <p:cNvSpPr>
            <a:spLocks noGrp="1"/>
          </p:cNvSpPr>
          <p:nvPr>
            <p:ph type="sldNum" sz="quarter" idx="4"/>
            <p:custDataLst>
              <p:tags r:id="rId5"/>
            </p:custDataLst>
          </p:nvPr>
        </p:nvSpPr>
        <p:spPr bwMode="gray"/>
        <p:txBody>
          <a:bodyPr/>
          <a:lstStyle/>
          <a:p>
            <a:fld id="{27F67E6B-0F24-40AE-9272-914C56B63673}" type="slidenum">
              <a:rPr lang="en-AU" smtClean="0"/>
              <a:pPr/>
              <a:t>2</a:t>
            </a:fld>
            <a:r>
              <a:rPr lang="en-AU" dirty="0" smtClean="0"/>
              <a:t> </a:t>
            </a:r>
            <a:endParaRPr lang="en-AU" dirty="0"/>
          </a:p>
        </p:txBody>
      </p:sp>
      <p:sp>
        <p:nvSpPr>
          <p:cNvPr id="22" name="TextBox 21"/>
          <p:cNvSpPr txBox="1"/>
          <p:nvPr>
            <p:custDataLst>
              <p:tags r:id="rId6"/>
            </p:custDataLst>
          </p:nvPr>
        </p:nvSpPr>
        <p:spPr bwMode="gray">
          <a:xfrm>
            <a:off x="755338" y="1481982"/>
            <a:ext cx="7606753" cy="362896"/>
          </a:xfrm>
          <a:prstGeom prst="rect">
            <a:avLst/>
          </a:prstGeom>
          <a:noFill/>
        </p:spPr>
        <p:txBody>
          <a:bodyPr wrap="square" lIns="80147" tIns="40074" rIns="80147" bIns="40074" rtlCol="0">
            <a:spAutoFit/>
          </a:bodyPr>
          <a:lstStyle/>
          <a:p>
            <a:r>
              <a:rPr lang="en-ZW" dirty="0">
                <a:latin typeface="Garamond" pitchFamily="18" charset="0"/>
              </a:rPr>
              <a:t>Title – what are you showing on this page?</a:t>
            </a:r>
          </a:p>
        </p:txBody>
      </p:sp>
    </p:spTree>
    <p:extLst>
      <p:ext uri="{BB962C8B-B14F-4D97-AF65-F5344CB8AC3E}">
        <p14:creationId xmlns:p14="http://schemas.microsoft.com/office/powerpoint/2010/main" val="127169332"/>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2143192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37" name="think-cell Slide" r:id="rId16" imgW="6350000" imgH="6350000" progId="TCLayout.ActiveDocument.1">
                  <p:embed/>
                </p:oleObj>
              </mc:Choice>
              <mc:Fallback>
                <p:oleObj name="think-cell Slide" r:id="rId16" imgW="6350000" imgH="6350000" progId="TCLayout.ActiveDocument.1">
                  <p:embed/>
                  <p:pic>
                    <p:nvPicPr>
                      <p:cNvPr id="0" name="Picture 10"/>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 name="AutoShape 2"/>
          <p:cNvSpPr>
            <a:spLocks noChangeArrowheads="1"/>
          </p:cNvSpPr>
          <p:nvPr>
            <p:custDataLst>
              <p:tags r:id="rId3"/>
            </p:custDataLst>
          </p:nvPr>
        </p:nvSpPr>
        <p:spPr bwMode="auto">
          <a:xfrm>
            <a:off x="4440970" y="2766109"/>
            <a:ext cx="2085804" cy="963613"/>
          </a:xfrm>
          <a:prstGeom prst="chevron">
            <a:avLst>
              <a:gd name="adj" fmla="val 26936"/>
            </a:avLst>
          </a:prstGeom>
          <a:solidFill>
            <a:schemeClr val="tx2"/>
          </a:solidFill>
          <a:ln w="9525">
            <a:solidFill>
              <a:schemeClr val="bg1"/>
            </a:solidFill>
            <a:miter lim="800000"/>
            <a:headEnd/>
            <a:tailEnd/>
          </a:ln>
          <a:effectLst/>
        </p:spPr>
        <p:txBody>
          <a:bodyPr lIns="80147" tIns="40074" rIns="80147" bIns="40074">
            <a:prstTxWarp prst="textNoShape">
              <a:avLst/>
            </a:prstTxWarp>
          </a:bodyPr>
          <a:lstStyle/>
          <a:p>
            <a:r>
              <a:rPr lang="nb-NO" sz="1600" dirty="0">
                <a:solidFill>
                  <a:schemeClr val="bg1"/>
                </a:solidFill>
                <a:latin typeface="Garamond"/>
              </a:rPr>
              <a:t>Text</a:t>
            </a:r>
            <a:endParaRPr lang="en-US" sz="1600" dirty="0">
              <a:solidFill>
                <a:schemeClr val="bg1"/>
              </a:solidFill>
              <a:latin typeface="Garamond"/>
            </a:endParaRPr>
          </a:p>
        </p:txBody>
      </p:sp>
      <p:sp>
        <p:nvSpPr>
          <p:cNvPr id="16" name="AutoShape 2"/>
          <p:cNvSpPr>
            <a:spLocks noChangeArrowheads="1"/>
          </p:cNvSpPr>
          <p:nvPr>
            <p:custDataLst>
              <p:tags r:id="rId4"/>
            </p:custDataLst>
          </p:nvPr>
        </p:nvSpPr>
        <p:spPr bwMode="auto">
          <a:xfrm>
            <a:off x="6265426" y="2766109"/>
            <a:ext cx="2085804" cy="963613"/>
          </a:xfrm>
          <a:prstGeom prst="chevron">
            <a:avLst>
              <a:gd name="adj" fmla="val 26936"/>
            </a:avLst>
          </a:prstGeom>
          <a:solidFill>
            <a:schemeClr val="tx2"/>
          </a:solidFill>
          <a:ln w="9525">
            <a:solidFill>
              <a:schemeClr val="bg1"/>
            </a:solidFill>
            <a:miter lim="800000"/>
            <a:headEnd/>
            <a:tailEnd/>
          </a:ln>
          <a:effectLst/>
        </p:spPr>
        <p:txBody>
          <a:bodyPr lIns="80147" tIns="40074" rIns="80147" bIns="40074">
            <a:prstTxWarp prst="textNoShape">
              <a:avLst/>
            </a:prstTxWarp>
          </a:bodyPr>
          <a:lstStyle/>
          <a:p>
            <a:r>
              <a:rPr lang="nb-NO" sz="1600" dirty="0">
                <a:solidFill>
                  <a:schemeClr val="bg1"/>
                </a:solidFill>
                <a:latin typeface="Garamond"/>
              </a:rPr>
              <a:t>Text</a:t>
            </a:r>
            <a:endParaRPr lang="en-US" sz="1600" dirty="0">
              <a:solidFill>
                <a:schemeClr val="bg1"/>
              </a:solidFill>
              <a:latin typeface="Garamond"/>
            </a:endParaRPr>
          </a:p>
        </p:txBody>
      </p:sp>
      <p:sp>
        <p:nvSpPr>
          <p:cNvPr id="10" name="AutoShape 2"/>
          <p:cNvSpPr>
            <a:spLocks noChangeArrowheads="1"/>
          </p:cNvSpPr>
          <p:nvPr>
            <p:custDataLst>
              <p:tags r:id="rId5"/>
            </p:custDataLst>
          </p:nvPr>
        </p:nvSpPr>
        <p:spPr bwMode="auto">
          <a:xfrm>
            <a:off x="904337" y="2766109"/>
            <a:ext cx="2085804" cy="963613"/>
          </a:xfrm>
          <a:prstGeom prst="homePlate">
            <a:avLst>
              <a:gd name="adj" fmla="val 27018"/>
            </a:avLst>
          </a:prstGeom>
          <a:solidFill>
            <a:schemeClr val="tx2"/>
          </a:solidFill>
          <a:ln w="9525">
            <a:solidFill>
              <a:schemeClr val="bg1"/>
            </a:solidFill>
            <a:miter lim="800000"/>
            <a:headEnd/>
            <a:tailEnd/>
          </a:ln>
          <a:effectLst/>
        </p:spPr>
        <p:txBody>
          <a:bodyPr lIns="80147" tIns="40074" rIns="80147" bIns="40074">
            <a:prstTxWarp prst="textNoShape">
              <a:avLst/>
            </a:prstTxWarp>
          </a:bodyPr>
          <a:lstStyle/>
          <a:p>
            <a:r>
              <a:rPr lang="nb-NO" sz="1600" dirty="0">
                <a:solidFill>
                  <a:schemeClr val="bg1"/>
                </a:solidFill>
                <a:latin typeface="Garamond"/>
              </a:rPr>
              <a:t>Text</a:t>
            </a:r>
            <a:endParaRPr lang="en-US" sz="1600" dirty="0">
              <a:solidFill>
                <a:schemeClr val="bg1"/>
              </a:solidFill>
              <a:latin typeface="Garamond"/>
            </a:endParaRPr>
          </a:p>
        </p:txBody>
      </p:sp>
      <p:sp>
        <p:nvSpPr>
          <p:cNvPr id="21" name="AutoShape 2"/>
          <p:cNvSpPr>
            <a:spLocks noChangeArrowheads="1"/>
          </p:cNvSpPr>
          <p:nvPr>
            <p:custDataLst>
              <p:tags r:id="rId6"/>
            </p:custDataLst>
          </p:nvPr>
        </p:nvSpPr>
        <p:spPr bwMode="auto">
          <a:xfrm>
            <a:off x="2486196" y="2323196"/>
            <a:ext cx="2224678" cy="1795462"/>
          </a:xfrm>
          <a:prstGeom prst="chevron">
            <a:avLst>
              <a:gd name="adj" fmla="val 26936"/>
            </a:avLst>
          </a:prstGeom>
          <a:solidFill>
            <a:srgbClr val="1F497D"/>
          </a:solidFill>
          <a:ln w="9525">
            <a:solidFill>
              <a:srgbClr val="FFFFFF"/>
            </a:solidFill>
            <a:round/>
            <a:headEnd/>
            <a:tailEnd/>
          </a:ln>
          <a:effectLst/>
        </p:spPr>
        <p:txBody>
          <a:bodyPr lIns="91424" tIns="45712" rIns="91424" bIns="45712" anchor="t" anchorCtr="0">
            <a:prstTxWarp prst="textNoShape">
              <a:avLst/>
            </a:prstTxWarp>
          </a:bodyPr>
          <a:lstStyle/>
          <a:p>
            <a:pPr algn="ctr"/>
            <a:r>
              <a:rPr lang="nb-NO" sz="1600" dirty="0">
                <a:solidFill>
                  <a:srgbClr val="FFFFFF"/>
                </a:solidFill>
                <a:latin typeface="Garamond"/>
              </a:rPr>
              <a:t>Text</a:t>
            </a:r>
            <a:endParaRPr lang="en-US" sz="1600" dirty="0">
              <a:solidFill>
                <a:srgbClr val="FFFFFF"/>
              </a:solidFill>
              <a:latin typeface="Garamond"/>
            </a:endParaRPr>
          </a:p>
        </p:txBody>
      </p:sp>
      <p:sp>
        <p:nvSpPr>
          <p:cNvPr id="28" name="Rectangle 5"/>
          <p:cNvSpPr>
            <a:spLocks noChangeArrowheads="1"/>
          </p:cNvSpPr>
          <p:nvPr>
            <p:custDataLst>
              <p:tags r:id="rId7"/>
            </p:custDataLst>
          </p:nvPr>
        </p:nvSpPr>
        <p:spPr bwMode="auto">
          <a:xfrm>
            <a:off x="878937" y="3782791"/>
            <a:ext cx="1741775" cy="346765"/>
          </a:xfrm>
          <a:prstGeom prst="rect">
            <a:avLst/>
          </a:prstGeom>
          <a:noFill/>
          <a:ln w="9525">
            <a:noFill/>
            <a:miter lim="800000"/>
            <a:headEnd/>
            <a:tailEnd/>
          </a:ln>
          <a:effectLst/>
        </p:spPr>
        <p:txBody>
          <a:bodyPr wrap="square" lIns="91424" tIns="45712" rIns="91424" bIns="45712" anchor="t" anchorCtr="0">
            <a:prstTxWarp prst="textNoShape">
              <a:avLst/>
            </a:prstTxWarp>
            <a:spAutoFit/>
          </a:bodyPr>
          <a:lstStyle/>
          <a:p>
            <a:pPr marL="266653" indent="-266653">
              <a:buFont typeface="Arial"/>
              <a:buChar char="•"/>
            </a:pPr>
            <a:r>
              <a:rPr lang="en-US" sz="1600" dirty="0">
                <a:solidFill>
                  <a:srgbClr val="1F497D"/>
                </a:solidFill>
                <a:latin typeface="Garamond"/>
              </a:rPr>
              <a:t>Text</a:t>
            </a:r>
          </a:p>
        </p:txBody>
      </p:sp>
      <p:sp>
        <p:nvSpPr>
          <p:cNvPr id="29" name="Rectangle 5"/>
          <p:cNvSpPr>
            <a:spLocks noChangeArrowheads="1"/>
          </p:cNvSpPr>
          <p:nvPr>
            <p:custDataLst>
              <p:tags r:id="rId8"/>
            </p:custDataLst>
          </p:nvPr>
        </p:nvSpPr>
        <p:spPr bwMode="auto">
          <a:xfrm>
            <a:off x="2819934" y="4118657"/>
            <a:ext cx="1634695" cy="346765"/>
          </a:xfrm>
          <a:prstGeom prst="rect">
            <a:avLst/>
          </a:prstGeom>
          <a:noFill/>
          <a:ln w="9525">
            <a:noFill/>
            <a:miter lim="800000"/>
            <a:headEnd/>
            <a:tailEnd/>
          </a:ln>
          <a:effectLst/>
        </p:spPr>
        <p:txBody>
          <a:bodyPr wrap="square" lIns="91424" tIns="45712" rIns="91424" bIns="45712" anchor="t" anchorCtr="0">
            <a:prstTxWarp prst="textNoShape">
              <a:avLst/>
            </a:prstTxWarp>
            <a:spAutoFit/>
          </a:bodyPr>
          <a:lstStyle/>
          <a:p>
            <a:pPr marL="266653" indent="-266653">
              <a:buFont typeface="Arial"/>
              <a:buChar char="•"/>
            </a:pPr>
            <a:r>
              <a:rPr lang="en-US" sz="1600" dirty="0">
                <a:solidFill>
                  <a:srgbClr val="1F497D"/>
                </a:solidFill>
                <a:latin typeface="Garamond"/>
              </a:rPr>
              <a:t>Text</a:t>
            </a:r>
          </a:p>
        </p:txBody>
      </p:sp>
      <p:sp>
        <p:nvSpPr>
          <p:cNvPr id="30" name="Rectangle 5"/>
          <p:cNvSpPr>
            <a:spLocks noChangeArrowheads="1"/>
          </p:cNvSpPr>
          <p:nvPr>
            <p:custDataLst>
              <p:tags r:id="rId9"/>
            </p:custDataLst>
          </p:nvPr>
        </p:nvSpPr>
        <p:spPr bwMode="auto">
          <a:xfrm>
            <a:off x="4617753" y="3782791"/>
            <a:ext cx="1741775" cy="346765"/>
          </a:xfrm>
          <a:prstGeom prst="rect">
            <a:avLst/>
          </a:prstGeom>
          <a:noFill/>
          <a:ln w="9525">
            <a:noFill/>
            <a:miter lim="800000"/>
            <a:headEnd/>
            <a:tailEnd/>
          </a:ln>
          <a:effectLst/>
        </p:spPr>
        <p:txBody>
          <a:bodyPr wrap="square" lIns="91424" tIns="45712" rIns="91424" bIns="45712" anchor="t" anchorCtr="0">
            <a:prstTxWarp prst="textNoShape">
              <a:avLst/>
            </a:prstTxWarp>
            <a:spAutoFit/>
          </a:bodyPr>
          <a:lstStyle/>
          <a:p>
            <a:pPr marL="266653" indent="-266653">
              <a:buFont typeface="Arial"/>
              <a:buChar char="•"/>
            </a:pPr>
            <a:r>
              <a:rPr lang="en-US" sz="1600" dirty="0">
                <a:solidFill>
                  <a:srgbClr val="1F497D"/>
                </a:solidFill>
                <a:latin typeface="Garamond"/>
              </a:rPr>
              <a:t>Text</a:t>
            </a:r>
          </a:p>
        </p:txBody>
      </p:sp>
      <p:sp>
        <p:nvSpPr>
          <p:cNvPr id="17" name="Rectangle 5"/>
          <p:cNvSpPr>
            <a:spLocks noChangeArrowheads="1"/>
          </p:cNvSpPr>
          <p:nvPr>
            <p:custDataLst>
              <p:tags r:id="rId10"/>
            </p:custDataLst>
          </p:nvPr>
        </p:nvSpPr>
        <p:spPr bwMode="auto">
          <a:xfrm>
            <a:off x="6442208" y="3782791"/>
            <a:ext cx="1741775" cy="346765"/>
          </a:xfrm>
          <a:prstGeom prst="rect">
            <a:avLst/>
          </a:prstGeom>
          <a:noFill/>
          <a:ln w="9525">
            <a:noFill/>
            <a:miter lim="800000"/>
            <a:headEnd/>
            <a:tailEnd/>
          </a:ln>
          <a:effectLst/>
        </p:spPr>
        <p:txBody>
          <a:bodyPr wrap="square" lIns="91424" tIns="45712" rIns="91424" bIns="45712" anchor="t" anchorCtr="0">
            <a:prstTxWarp prst="textNoShape">
              <a:avLst/>
            </a:prstTxWarp>
            <a:spAutoFit/>
          </a:bodyPr>
          <a:lstStyle/>
          <a:p>
            <a:pPr marL="266653" indent="-266653">
              <a:buFont typeface="Arial"/>
              <a:buChar char="•"/>
            </a:pPr>
            <a:r>
              <a:rPr lang="en-US" sz="1600" dirty="0">
                <a:solidFill>
                  <a:srgbClr val="1F497D"/>
                </a:solidFill>
                <a:latin typeface="Garamond"/>
              </a:rPr>
              <a:t>Text</a:t>
            </a:r>
          </a:p>
        </p:txBody>
      </p:sp>
      <p:sp>
        <p:nvSpPr>
          <p:cNvPr id="19" name="Title 3"/>
          <p:cNvSpPr txBox="1">
            <a:spLocks/>
          </p:cNvSpPr>
          <p:nvPr>
            <p:custDataLst>
              <p:tags r:id="rId11"/>
            </p:custDataLst>
          </p:nvPr>
        </p:nvSpPr>
        <p:spPr>
          <a:xfrm>
            <a:off x="754204" y="5545148"/>
            <a:ext cx="6891495" cy="822961"/>
          </a:xfrm>
          <a:prstGeom prst="rect">
            <a:avLst/>
          </a:prstGeom>
        </p:spPr>
        <p:txBody>
          <a:bodyPr vert="horz" lIns="80133" tIns="40067" rIns="80133" bIns="40067" rtlCol="0" anchor="b" anchorCtr="0">
            <a:normAutofit/>
          </a:bodyPr>
          <a:lstStyle>
            <a:lvl1pPr algn="l" defTabSz="914239" rtl="0" eaLnBrk="1" latinLnBrk="0" hangingPunct="1">
              <a:spcBef>
                <a:spcPct val="0"/>
              </a:spcBef>
              <a:buNone/>
              <a:defRPr sz="2800" kern="1200">
                <a:solidFill>
                  <a:schemeClr val="accent1"/>
                </a:solidFill>
                <a:latin typeface="Garamond" pitchFamily="18" charset="0"/>
                <a:ea typeface="+mj-ea"/>
                <a:cs typeface="+mj-cs"/>
              </a:defRPr>
            </a:lvl1pPr>
          </a:lstStyle>
          <a:p>
            <a:r>
              <a:rPr lang="en-GB" sz="1200" dirty="0">
                <a:solidFill>
                  <a:schemeClr val="tx2"/>
                </a:solidFill>
              </a:rPr>
              <a:t>Footnotes and assumptions: list</a:t>
            </a:r>
          </a:p>
          <a:p>
            <a:r>
              <a:rPr lang="en-GB" sz="1200" dirty="0">
                <a:solidFill>
                  <a:schemeClr val="tx2"/>
                </a:solidFill>
              </a:rPr>
              <a:t>Source: List sources</a:t>
            </a:r>
          </a:p>
        </p:txBody>
      </p:sp>
      <p:sp>
        <p:nvSpPr>
          <p:cNvPr id="20" name="Rectangle 4"/>
          <p:cNvSpPr>
            <a:spLocks noGrp="1" noChangeArrowheads="1"/>
          </p:cNvSpPr>
          <p:nvPr>
            <p:ph type="title"/>
            <p:custDataLst>
              <p:tags r:id="rId12"/>
            </p:custDataLst>
          </p:nvPr>
        </p:nvSpPr>
        <p:spPr/>
        <p:txBody>
          <a:bodyPr/>
          <a:lstStyle/>
          <a:p>
            <a:r>
              <a:rPr lang="en-GB" dirty="0" smtClean="0"/>
              <a:t>Message title – </a:t>
            </a:r>
            <a:r>
              <a:rPr lang="en-US" dirty="0" smtClean="0"/>
              <a:t>why are you showing it? flow</a:t>
            </a:r>
            <a:endParaRPr lang="en-GB" dirty="0"/>
          </a:p>
        </p:txBody>
      </p:sp>
      <p:sp>
        <p:nvSpPr>
          <p:cNvPr id="5" name="Footer Placeholder 4"/>
          <p:cNvSpPr>
            <a:spLocks noGrp="1"/>
          </p:cNvSpPr>
          <p:nvPr>
            <p:ph type="ftr" sz="quarter" idx="3"/>
          </p:nvPr>
        </p:nvSpPr>
        <p:spPr/>
        <p:txBody>
          <a:bodyPr/>
          <a:lstStyle/>
          <a:p>
            <a:r>
              <a:rPr lang="en-US" dirty="0" smtClean="0"/>
              <a:t>neil young |neil@ogcommunicationdesign.com |www.ogcommunicationdesign.com</a:t>
            </a:r>
            <a:endParaRPr lang="en-US" dirty="0"/>
          </a:p>
        </p:txBody>
      </p:sp>
      <p:sp>
        <p:nvSpPr>
          <p:cNvPr id="15" name="Slide Number Placeholder 14"/>
          <p:cNvSpPr>
            <a:spLocks noGrp="1"/>
          </p:cNvSpPr>
          <p:nvPr>
            <p:ph type="sldNum" sz="quarter" idx="4"/>
            <p:custDataLst>
              <p:tags r:id="rId13"/>
            </p:custDataLst>
          </p:nvPr>
        </p:nvSpPr>
        <p:spPr/>
        <p:txBody>
          <a:bodyPr/>
          <a:lstStyle/>
          <a:p>
            <a:fld id="{27F67E6B-0F24-40AE-9272-914C56B63673}" type="slidenum">
              <a:rPr lang="en-AU" smtClean="0"/>
              <a:pPr/>
              <a:t>3</a:t>
            </a:fld>
            <a:r>
              <a:rPr lang="en-AU" dirty="0" smtClean="0"/>
              <a:t> </a:t>
            </a:r>
            <a:endParaRPr lang="en-AU" dirty="0"/>
          </a:p>
        </p:txBody>
      </p:sp>
      <p:sp>
        <p:nvSpPr>
          <p:cNvPr id="18" name="TextBox 17"/>
          <p:cNvSpPr txBox="1"/>
          <p:nvPr>
            <p:custDataLst>
              <p:tags r:id="rId14"/>
            </p:custDataLst>
          </p:nvPr>
        </p:nvSpPr>
        <p:spPr>
          <a:xfrm>
            <a:off x="755338" y="1481982"/>
            <a:ext cx="7606753" cy="362896"/>
          </a:xfrm>
          <a:prstGeom prst="rect">
            <a:avLst/>
          </a:prstGeom>
          <a:noFill/>
        </p:spPr>
        <p:txBody>
          <a:bodyPr wrap="square" lIns="80147" tIns="40074" rIns="80147" bIns="40074" rtlCol="0">
            <a:spAutoFit/>
          </a:bodyPr>
          <a:lstStyle/>
          <a:p>
            <a:r>
              <a:rPr lang="en-ZW" dirty="0">
                <a:latin typeface="Garamond" pitchFamily="18" charset="0"/>
              </a:rPr>
              <a:t>Title – what are you showing on this page?</a:t>
            </a:r>
          </a:p>
        </p:txBody>
      </p:sp>
    </p:spTree>
    <p:extLst>
      <p:ext uri="{BB962C8B-B14F-4D97-AF65-F5344CB8AC3E}">
        <p14:creationId xmlns:p14="http://schemas.microsoft.com/office/powerpoint/2010/main" val="127169332"/>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439900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17" name="think-cell Slide" r:id="rId8" imgW="6350000" imgH="6350000" progId="TCLayout.ActiveDocument.1">
                  <p:embed/>
                </p:oleObj>
              </mc:Choice>
              <mc:Fallback>
                <p:oleObj name="think-cell Slide" r:id="rId8" imgW="6350000" imgH="6350000" progId="TCLayout.ActiveDocument.1">
                  <p:embed/>
                  <p:pic>
                    <p:nvPicPr>
                      <p:cNvPr id="0" name="Picture 10"/>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Line 13"/>
          <p:cNvSpPr>
            <a:spLocks noChangeShapeType="1"/>
          </p:cNvSpPr>
          <p:nvPr/>
        </p:nvSpPr>
        <p:spPr bwMode="auto">
          <a:xfrm>
            <a:off x="3599937" y="5590995"/>
            <a:ext cx="2944028" cy="0"/>
          </a:xfrm>
          <a:prstGeom prst="line">
            <a:avLst/>
          </a:prstGeom>
          <a:noFill/>
          <a:ln w="9525">
            <a:solidFill>
              <a:srgbClr val="1F497D"/>
            </a:solidFill>
            <a:round/>
            <a:headEnd/>
            <a:tailEnd/>
          </a:ln>
          <a:effectLst/>
        </p:spPr>
        <p:txBody>
          <a:bodyPr lIns="104306" tIns="52153" rIns="104306" bIns="52153">
            <a:prstTxWarp prst="textNoShape">
              <a:avLst/>
            </a:prstTxWarp>
          </a:bodyPr>
          <a:lstStyle/>
          <a:p>
            <a:endParaRPr lang="en-GB" sz="1600" dirty="0">
              <a:solidFill>
                <a:srgbClr val="1F497D"/>
              </a:solidFill>
              <a:latin typeface="Garamond"/>
            </a:endParaRPr>
          </a:p>
        </p:txBody>
      </p:sp>
      <p:sp>
        <p:nvSpPr>
          <p:cNvPr id="10" name="Rectangle 8"/>
          <p:cNvSpPr>
            <a:spLocks noChangeArrowheads="1"/>
          </p:cNvSpPr>
          <p:nvPr/>
        </p:nvSpPr>
        <p:spPr bwMode="auto">
          <a:xfrm>
            <a:off x="3599936" y="2330435"/>
            <a:ext cx="1473415" cy="1473415"/>
          </a:xfrm>
          <a:prstGeom prst="rect">
            <a:avLst/>
          </a:prstGeom>
          <a:solidFill>
            <a:schemeClr val="tx2"/>
          </a:solidFill>
          <a:ln w="9525">
            <a:solidFill>
              <a:schemeClr val="bg1"/>
            </a:solidFill>
            <a:miter lim="800000"/>
            <a:headEnd/>
            <a:tailEnd/>
          </a:ln>
          <a:effectLst/>
        </p:spPr>
        <p:txBody>
          <a:bodyPr lIns="80147" tIns="40074" rIns="80147" bIns="40074">
            <a:prstTxWarp prst="textNoShape">
              <a:avLst/>
            </a:prstTxWarp>
          </a:bodyPr>
          <a:lstStyle/>
          <a:p>
            <a:pPr indent="-269827"/>
            <a:r>
              <a:rPr lang="nb-NO" sz="1600" dirty="0">
                <a:solidFill>
                  <a:schemeClr val="bg1"/>
                </a:solidFill>
                <a:latin typeface="Garamond"/>
              </a:rPr>
              <a:t>Text</a:t>
            </a:r>
            <a:endParaRPr lang="en-US" sz="1600" dirty="0">
              <a:solidFill>
                <a:schemeClr val="bg1"/>
              </a:solidFill>
              <a:latin typeface="Garamond"/>
            </a:endParaRPr>
          </a:p>
        </p:txBody>
      </p:sp>
      <p:sp>
        <p:nvSpPr>
          <p:cNvPr id="11" name="Rectangle 9"/>
          <p:cNvSpPr>
            <a:spLocks noChangeArrowheads="1"/>
          </p:cNvSpPr>
          <p:nvPr/>
        </p:nvSpPr>
        <p:spPr bwMode="auto">
          <a:xfrm>
            <a:off x="5066348" y="2330435"/>
            <a:ext cx="1473415" cy="1473415"/>
          </a:xfrm>
          <a:prstGeom prst="rect">
            <a:avLst/>
          </a:prstGeom>
          <a:solidFill>
            <a:schemeClr val="tx2"/>
          </a:solidFill>
          <a:ln w="9525">
            <a:solidFill>
              <a:schemeClr val="bg1"/>
            </a:solidFill>
            <a:miter lim="800000"/>
            <a:headEnd/>
            <a:tailEnd/>
          </a:ln>
          <a:effectLst/>
        </p:spPr>
        <p:txBody>
          <a:bodyPr lIns="80147" tIns="40074" rIns="80147" bIns="40074">
            <a:prstTxWarp prst="textNoShape">
              <a:avLst/>
            </a:prstTxWarp>
          </a:bodyPr>
          <a:lstStyle/>
          <a:p>
            <a:pPr indent="-269827"/>
            <a:r>
              <a:rPr lang="nb-NO" sz="1600" dirty="0">
                <a:solidFill>
                  <a:schemeClr val="bg1"/>
                </a:solidFill>
                <a:latin typeface="Garamond"/>
              </a:rPr>
              <a:t>Text</a:t>
            </a:r>
            <a:endParaRPr lang="en-US" sz="1600" dirty="0">
              <a:solidFill>
                <a:schemeClr val="bg1"/>
              </a:solidFill>
              <a:latin typeface="Garamond"/>
            </a:endParaRPr>
          </a:p>
        </p:txBody>
      </p:sp>
      <p:sp>
        <p:nvSpPr>
          <p:cNvPr id="12" name="Rectangle 10"/>
          <p:cNvSpPr>
            <a:spLocks noChangeArrowheads="1"/>
          </p:cNvSpPr>
          <p:nvPr/>
        </p:nvSpPr>
        <p:spPr bwMode="auto">
          <a:xfrm>
            <a:off x="3599936" y="3795446"/>
            <a:ext cx="1473415" cy="1473415"/>
          </a:xfrm>
          <a:prstGeom prst="rect">
            <a:avLst/>
          </a:prstGeom>
          <a:solidFill>
            <a:schemeClr val="tx2"/>
          </a:solidFill>
          <a:ln w="9525">
            <a:solidFill>
              <a:schemeClr val="bg1"/>
            </a:solidFill>
            <a:miter lim="800000"/>
            <a:headEnd/>
            <a:tailEnd/>
          </a:ln>
          <a:effectLst/>
        </p:spPr>
        <p:txBody>
          <a:bodyPr lIns="80147" tIns="40074" rIns="80147" bIns="40074">
            <a:prstTxWarp prst="textNoShape">
              <a:avLst/>
            </a:prstTxWarp>
          </a:bodyPr>
          <a:lstStyle/>
          <a:p>
            <a:pPr indent="-269827"/>
            <a:r>
              <a:rPr lang="nb-NO" sz="1600" dirty="0">
                <a:solidFill>
                  <a:schemeClr val="bg1"/>
                </a:solidFill>
                <a:latin typeface="Garamond"/>
              </a:rPr>
              <a:t>Text</a:t>
            </a:r>
            <a:endParaRPr lang="en-US" sz="1600" dirty="0">
              <a:solidFill>
                <a:schemeClr val="bg1"/>
              </a:solidFill>
              <a:latin typeface="Garamond"/>
            </a:endParaRPr>
          </a:p>
        </p:txBody>
      </p:sp>
      <p:sp>
        <p:nvSpPr>
          <p:cNvPr id="13" name="Rectangle 11"/>
          <p:cNvSpPr>
            <a:spLocks noChangeArrowheads="1"/>
          </p:cNvSpPr>
          <p:nvPr/>
        </p:nvSpPr>
        <p:spPr bwMode="auto">
          <a:xfrm>
            <a:off x="5066348" y="3795446"/>
            <a:ext cx="1473415" cy="1473415"/>
          </a:xfrm>
          <a:prstGeom prst="rect">
            <a:avLst/>
          </a:prstGeom>
          <a:solidFill>
            <a:schemeClr val="tx2"/>
          </a:solidFill>
          <a:ln w="9525">
            <a:solidFill>
              <a:schemeClr val="bg1"/>
            </a:solidFill>
            <a:miter lim="800000"/>
            <a:headEnd/>
            <a:tailEnd/>
          </a:ln>
          <a:effectLst/>
        </p:spPr>
        <p:txBody>
          <a:bodyPr lIns="80147" tIns="40074" rIns="80147" bIns="40074">
            <a:prstTxWarp prst="textNoShape">
              <a:avLst/>
            </a:prstTxWarp>
          </a:bodyPr>
          <a:lstStyle/>
          <a:p>
            <a:pPr indent="-269827"/>
            <a:r>
              <a:rPr lang="nb-NO" sz="1600" dirty="0">
                <a:solidFill>
                  <a:schemeClr val="bg1"/>
                </a:solidFill>
                <a:latin typeface="Garamond"/>
              </a:rPr>
              <a:t>Text</a:t>
            </a:r>
            <a:endParaRPr lang="en-US" sz="1600" dirty="0">
              <a:solidFill>
                <a:schemeClr val="bg1"/>
              </a:solidFill>
              <a:latin typeface="Garamond"/>
            </a:endParaRPr>
          </a:p>
        </p:txBody>
      </p:sp>
      <p:sp>
        <p:nvSpPr>
          <p:cNvPr id="15" name="Line 14"/>
          <p:cNvSpPr>
            <a:spLocks noChangeShapeType="1"/>
          </p:cNvSpPr>
          <p:nvPr/>
        </p:nvSpPr>
        <p:spPr bwMode="auto">
          <a:xfrm rot="16200000">
            <a:off x="1370205" y="3802450"/>
            <a:ext cx="2944029" cy="0"/>
          </a:xfrm>
          <a:prstGeom prst="line">
            <a:avLst/>
          </a:prstGeom>
          <a:solidFill>
            <a:schemeClr val="tx2"/>
          </a:solidFill>
          <a:ln w="9525">
            <a:solidFill>
              <a:srgbClr val="1F497D"/>
            </a:solidFill>
            <a:miter lim="800000"/>
            <a:headEnd/>
            <a:tailEnd/>
          </a:ln>
          <a:effectLst/>
        </p:spPr>
        <p:txBody>
          <a:bodyPr lIns="80147" tIns="40074" rIns="80147" bIns="40074">
            <a:prstTxWarp prst="textNoShape">
              <a:avLst/>
            </a:prstTxWarp>
          </a:bodyPr>
          <a:lstStyle/>
          <a:p>
            <a:pPr indent="-269827"/>
            <a:endParaRPr lang="en-GB" sz="1600" dirty="0">
              <a:solidFill>
                <a:srgbClr val="1F497D"/>
              </a:solidFill>
              <a:latin typeface="Garamond"/>
            </a:endParaRPr>
          </a:p>
        </p:txBody>
      </p:sp>
      <p:sp>
        <p:nvSpPr>
          <p:cNvPr id="16" name="Text Box 15"/>
          <p:cNvSpPr txBox="1">
            <a:spLocks noChangeArrowheads="1"/>
          </p:cNvSpPr>
          <p:nvPr/>
        </p:nvSpPr>
        <p:spPr bwMode="auto">
          <a:xfrm>
            <a:off x="3499095" y="5270262"/>
            <a:ext cx="1317949" cy="351546"/>
          </a:xfrm>
          <a:prstGeom prst="rect">
            <a:avLst/>
          </a:prstGeom>
          <a:noFill/>
          <a:ln w="9525">
            <a:noFill/>
            <a:miter lim="800000"/>
            <a:headEnd/>
            <a:tailEnd/>
          </a:ln>
          <a:effectLst/>
        </p:spPr>
        <p:txBody>
          <a:bodyPr lIns="80147" tIns="40074" rIns="80147" bIns="40074">
            <a:prstTxWarp prst="textNoShape">
              <a:avLst/>
            </a:prstTxWarp>
          </a:bodyPr>
          <a:lstStyle/>
          <a:p>
            <a:pPr indent="-269827"/>
            <a:r>
              <a:rPr lang="nb-NO" sz="1600" dirty="0">
                <a:solidFill>
                  <a:srgbClr val="1F497D"/>
                </a:solidFill>
                <a:latin typeface="Garamond"/>
              </a:rPr>
              <a:t>Label</a:t>
            </a:r>
            <a:endParaRPr lang="en-US" sz="1600" dirty="0">
              <a:solidFill>
                <a:srgbClr val="1F497D"/>
              </a:solidFill>
              <a:latin typeface="Garamond"/>
            </a:endParaRPr>
          </a:p>
        </p:txBody>
      </p:sp>
      <p:sp>
        <p:nvSpPr>
          <p:cNvPr id="17" name="Text Box 16"/>
          <p:cNvSpPr txBox="1">
            <a:spLocks noChangeArrowheads="1"/>
          </p:cNvSpPr>
          <p:nvPr/>
        </p:nvSpPr>
        <p:spPr bwMode="auto">
          <a:xfrm>
            <a:off x="5311451" y="5270261"/>
            <a:ext cx="1317949" cy="351546"/>
          </a:xfrm>
          <a:prstGeom prst="rect">
            <a:avLst/>
          </a:prstGeom>
          <a:noFill/>
          <a:ln w="9525">
            <a:noFill/>
            <a:miter lim="800000"/>
            <a:headEnd/>
            <a:tailEnd/>
          </a:ln>
          <a:effectLst/>
        </p:spPr>
        <p:txBody>
          <a:bodyPr wrap="square" lIns="104306" tIns="52153" rIns="104306" bIns="52153">
            <a:prstTxWarp prst="textNoShape">
              <a:avLst/>
            </a:prstTxWarp>
            <a:spAutoFit/>
          </a:bodyPr>
          <a:lstStyle/>
          <a:p>
            <a:pPr algn="r"/>
            <a:r>
              <a:rPr lang="nb-NO" sz="1600" dirty="0">
                <a:solidFill>
                  <a:srgbClr val="1F497D"/>
                </a:solidFill>
                <a:latin typeface="Garamond"/>
              </a:rPr>
              <a:t>Label</a:t>
            </a:r>
            <a:endParaRPr lang="en-US" sz="1600" dirty="0">
              <a:solidFill>
                <a:srgbClr val="1F497D"/>
              </a:solidFill>
              <a:latin typeface="Garamond"/>
            </a:endParaRPr>
          </a:p>
        </p:txBody>
      </p:sp>
      <p:sp>
        <p:nvSpPr>
          <p:cNvPr id="18" name="Text Box 17"/>
          <p:cNvSpPr txBox="1">
            <a:spLocks noChangeArrowheads="1"/>
          </p:cNvSpPr>
          <p:nvPr/>
        </p:nvSpPr>
        <p:spPr bwMode="auto">
          <a:xfrm>
            <a:off x="4408073" y="5644217"/>
            <a:ext cx="1317951" cy="351546"/>
          </a:xfrm>
          <a:prstGeom prst="rect">
            <a:avLst/>
          </a:prstGeom>
          <a:noFill/>
          <a:ln w="9525">
            <a:noFill/>
            <a:miter lim="800000"/>
            <a:headEnd/>
            <a:tailEnd/>
          </a:ln>
          <a:effectLst/>
        </p:spPr>
        <p:txBody>
          <a:bodyPr wrap="square" lIns="104306" tIns="52153" rIns="104306" bIns="52153">
            <a:prstTxWarp prst="textNoShape">
              <a:avLst/>
            </a:prstTxWarp>
            <a:spAutoFit/>
          </a:bodyPr>
          <a:lstStyle/>
          <a:p>
            <a:pPr algn="ctr"/>
            <a:r>
              <a:rPr lang="nb-NO" sz="1600" dirty="0">
                <a:solidFill>
                  <a:srgbClr val="1F497D"/>
                </a:solidFill>
                <a:latin typeface="Garamond"/>
              </a:rPr>
              <a:t>Label</a:t>
            </a:r>
            <a:endParaRPr lang="en-US" sz="1600" dirty="0">
              <a:solidFill>
                <a:srgbClr val="1F497D"/>
              </a:solidFill>
              <a:latin typeface="Garamond"/>
            </a:endParaRPr>
          </a:p>
        </p:txBody>
      </p:sp>
      <p:sp>
        <p:nvSpPr>
          <p:cNvPr id="19" name="Text Box 18"/>
          <p:cNvSpPr txBox="1">
            <a:spLocks noChangeArrowheads="1"/>
          </p:cNvSpPr>
          <p:nvPr/>
        </p:nvSpPr>
        <p:spPr bwMode="auto">
          <a:xfrm>
            <a:off x="2018676" y="3615471"/>
            <a:ext cx="823544" cy="351546"/>
          </a:xfrm>
          <a:prstGeom prst="rect">
            <a:avLst/>
          </a:prstGeom>
          <a:noFill/>
          <a:ln w="9525">
            <a:noFill/>
            <a:miter lim="800000"/>
            <a:headEnd/>
            <a:tailEnd/>
          </a:ln>
          <a:effectLst/>
        </p:spPr>
        <p:txBody>
          <a:bodyPr wrap="square" lIns="104306" tIns="52153" rIns="104306" bIns="52153" anchor="ctr">
            <a:prstTxWarp prst="textNoShape">
              <a:avLst/>
            </a:prstTxWarp>
            <a:spAutoFit/>
          </a:bodyPr>
          <a:lstStyle/>
          <a:p>
            <a:r>
              <a:rPr lang="nb-NO" sz="1600" dirty="0">
                <a:solidFill>
                  <a:srgbClr val="1F497D"/>
                </a:solidFill>
                <a:latin typeface="Garamond"/>
              </a:rPr>
              <a:t>Label</a:t>
            </a:r>
            <a:endParaRPr lang="en-US" sz="1600" dirty="0">
              <a:solidFill>
                <a:srgbClr val="1F497D"/>
              </a:solidFill>
              <a:latin typeface="Garamond"/>
            </a:endParaRPr>
          </a:p>
        </p:txBody>
      </p:sp>
      <p:sp>
        <p:nvSpPr>
          <p:cNvPr id="20" name="Text Box 19"/>
          <p:cNvSpPr txBox="1">
            <a:spLocks noChangeArrowheads="1"/>
          </p:cNvSpPr>
          <p:nvPr/>
        </p:nvSpPr>
        <p:spPr bwMode="auto">
          <a:xfrm>
            <a:off x="2877235" y="2254803"/>
            <a:ext cx="735306" cy="351546"/>
          </a:xfrm>
          <a:prstGeom prst="rect">
            <a:avLst/>
          </a:prstGeom>
          <a:noFill/>
          <a:ln w="9525">
            <a:noFill/>
            <a:miter lim="800000"/>
            <a:headEnd/>
            <a:tailEnd/>
          </a:ln>
          <a:effectLst/>
        </p:spPr>
        <p:txBody>
          <a:bodyPr wrap="square" lIns="104306" tIns="52153" rIns="104306" bIns="52153">
            <a:prstTxWarp prst="textNoShape">
              <a:avLst/>
            </a:prstTxWarp>
            <a:spAutoFit/>
          </a:bodyPr>
          <a:lstStyle/>
          <a:p>
            <a:r>
              <a:rPr lang="nb-NO" sz="1600" dirty="0">
                <a:solidFill>
                  <a:srgbClr val="1F497D"/>
                </a:solidFill>
                <a:latin typeface="Garamond"/>
              </a:rPr>
              <a:t>Label</a:t>
            </a:r>
            <a:endParaRPr lang="en-US" sz="1600" dirty="0">
              <a:solidFill>
                <a:srgbClr val="1F497D"/>
              </a:solidFill>
              <a:latin typeface="Garamond"/>
            </a:endParaRPr>
          </a:p>
        </p:txBody>
      </p:sp>
      <p:sp>
        <p:nvSpPr>
          <p:cNvPr id="21" name="Text Box 20"/>
          <p:cNvSpPr txBox="1">
            <a:spLocks noChangeArrowheads="1"/>
          </p:cNvSpPr>
          <p:nvPr/>
        </p:nvSpPr>
        <p:spPr bwMode="auto">
          <a:xfrm>
            <a:off x="2877235" y="5006952"/>
            <a:ext cx="735306" cy="351546"/>
          </a:xfrm>
          <a:prstGeom prst="rect">
            <a:avLst/>
          </a:prstGeom>
          <a:noFill/>
          <a:ln w="9525">
            <a:noFill/>
            <a:miter lim="800000"/>
            <a:headEnd/>
            <a:tailEnd/>
          </a:ln>
          <a:effectLst/>
        </p:spPr>
        <p:txBody>
          <a:bodyPr wrap="square" lIns="104306" tIns="52153" rIns="104306" bIns="52153" anchor="b">
            <a:prstTxWarp prst="textNoShape">
              <a:avLst/>
            </a:prstTxWarp>
            <a:spAutoFit/>
          </a:bodyPr>
          <a:lstStyle/>
          <a:p>
            <a:r>
              <a:rPr lang="nb-NO" sz="1600" dirty="0">
                <a:solidFill>
                  <a:srgbClr val="1F497D"/>
                </a:solidFill>
                <a:latin typeface="Garamond"/>
              </a:rPr>
              <a:t>Label</a:t>
            </a:r>
            <a:endParaRPr lang="en-US" sz="1600" dirty="0">
              <a:solidFill>
                <a:srgbClr val="1F497D"/>
              </a:solidFill>
              <a:latin typeface="Garamond"/>
            </a:endParaRPr>
          </a:p>
        </p:txBody>
      </p:sp>
      <p:sp>
        <p:nvSpPr>
          <p:cNvPr id="23" name="Title 3"/>
          <p:cNvSpPr txBox="1">
            <a:spLocks/>
          </p:cNvSpPr>
          <p:nvPr>
            <p:custDataLst>
              <p:tags r:id="rId3"/>
            </p:custDataLst>
          </p:nvPr>
        </p:nvSpPr>
        <p:spPr>
          <a:xfrm>
            <a:off x="754204" y="5545148"/>
            <a:ext cx="6891495" cy="822961"/>
          </a:xfrm>
          <a:prstGeom prst="rect">
            <a:avLst/>
          </a:prstGeom>
        </p:spPr>
        <p:txBody>
          <a:bodyPr vert="horz" lIns="80133" tIns="40067" rIns="80133" bIns="40067" rtlCol="0" anchor="b" anchorCtr="0">
            <a:normAutofit/>
          </a:bodyPr>
          <a:lstStyle>
            <a:lvl1pPr algn="l" defTabSz="914239" rtl="0" eaLnBrk="1" latinLnBrk="0" hangingPunct="1">
              <a:spcBef>
                <a:spcPct val="0"/>
              </a:spcBef>
              <a:buNone/>
              <a:defRPr sz="2800" kern="1200">
                <a:solidFill>
                  <a:schemeClr val="accent1"/>
                </a:solidFill>
                <a:latin typeface="Garamond" pitchFamily="18" charset="0"/>
                <a:ea typeface="+mj-ea"/>
                <a:cs typeface="+mj-cs"/>
              </a:defRPr>
            </a:lvl1pPr>
          </a:lstStyle>
          <a:p>
            <a:r>
              <a:rPr lang="en-GB" sz="1200" dirty="0">
                <a:solidFill>
                  <a:schemeClr val="tx2"/>
                </a:solidFill>
              </a:rPr>
              <a:t>Footnotes and assumptions: list</a:t>
            </a:r>
          </a:p>
          <a:p>
            <a:r>
              <a:rPr lang="en-GB" sz="1200" dirty="0">
                <a:solidFill>
                  <a:schemeClr val="tx2"/>
                </a:solidFill>
              </a:rPr>
              <a:t>Source: List sources</a:t>
            </a:r>
          </a:p>
        </p:txBody>
      </p:sp>
      <p:sp>
        <p:nvSpPr>
          <p:cNvPr id="24" name="Rectangle 4"/>
          <p:cNvSpPr>
            <a:spLocks noGrp="1" noChangeArrowheads="1"/>
          </p:cNvSpPr>
          <p:nvPr>
            <p:ph type="title"/>
            <p:custDataLst>
              <p:tags r:id="rId4"/>
            </p:custDataLst>
          </p:nvPr>
        </p:nvSpPr>
        <p:spPr/>
        <p:txBody>
          <a:bodyPr/>
          <a:lstStyle/>
          <a:p>
            <a:r>
              <a:rPr lang="en-GB" dirty="0" smtClean="0"/>
              <a:t>Message title – </a:t>
            </a:r>
            <a:r>
              <a:rPr lang="en-US" dirty="0" smtClean="0"/>
              <a:t>why are you showing it? matrix</a:t>
            </a:r>
            <a:endParaRPr lang="en-GB" dirty="0"/>
          </a:p>
        </p:txBody>
      </p:sp>
      <p:sp>
        <p:nvSpPr>
          <p:cNvPr id="5" name="Footer Placeholder 4"/>
          <p:cNvSpPr>
            <a:spLocks noGrp="1"/>
          </p:cNvSpPr>
          <p:nvPr>
            <p:ph type="ftr" sz="quarter" idx="3"/>
          </p:nvPr>
        </p:nvSpPr>
        <p:spPr/>
        <p:txBody>
          <a:bodyPr/>
          <a:lstStyle/>
          <a:p>
            <a:r>
              <a:rPr lang="en-US" dirty="0" smtClean="0"/>
              <a:t>neil young |neil@ogcommunicationdesign.com |www.ogcommunicationdesign.com</a:t>
            </a:r>
            <a:endParaRPr lang="en-US" dirty="0"/>
          </a:p>
        </p:txBody>
      </p:sp>
      <p:sp>
        <p:nvSpPr>
          <p:cNvPr id="30" name="Slide Number Placeholder 29"/>
          <p:cNvSpPr>
            <a:spLocks noGrp="1"/>
          </p:cNvSpPr>
          <p:nvPr>
            <p:ph type="sldNum" sz="quarter" idx="4"/>
            <p:custDataLst>
              <p:tags r:id="rId5"/>
            </p:custDataLst>
          </p:nvPr>
        </p:nvSpPr>
        <p:spPr/>
        <p:txBody>
          <a:bodyPr/>
          <a:lstStyle/>
          <a:p>
            <a:fld id="{27F67E6B-0F24-40AE-9272-914C56B63673}" type="slidenum">
              <a:rPr lang="en-AU" smtClean="0"/>
              <a:pPr/>
              <a:t>4</a:t>
            </a:fld>
            <a:r>
              <a:rPr lang="en-AU" dirty="0" smtClean="0"/>
              <a:t> </a:t>
            </a:r>
            <a:endParaRPr lang="en-AU" dirty="0"/>
          </a:p>
        </p:txBody>
      </p:sp>
      <p:sp>
        <p:nvSpPr>
          <p:cNvPr id="22" name="TextBox 21"/>
          <p:cNvSpPr txBox="1"/>
          <p:nvPr>
            <p:custDataLst>
              <p:tags r:id="rId6"/>
            </p:custDataLst>
          </p:nvPr>
        </p:nvSpPr>
        <p:spPr>
          <a:xfrm>
            <a:off x="755338" y="1481982"/>
            <a:ext cx="7606753" cy="362896"/>
          </a:xfrm>
          <a:prstGeom prst="rect">
            <a:avLst/>
          </a:prstGeom>
          <a:noFill/>
        </p:spPr>
        <p:txBody>
          <a:bodyPr wrap="square" lIns="80147" tIns="40074" rIns="80147" bIns="40074" rtlCol="0">
            <a:spAutoFit/>
          </a:bodyPr>
          <a:lstStyle/>
          <a:p>
            <a:r>
              <a:rPr lang="en-ZW" dirty="0">
                <a:latin typeface="Garamond" pitchFamily="18" charset="0"/>
              </a:rPr>
              <a:t>Title – what are you showing on this page?</a:t>
            </a:r>
          </a:p>
        </p:txBody>
      </p:sp>
    </p:spTree>
    <p:extLst>
      <p:ext uri="{BB962C8B-B14F-4D97-AF65-F5344CB8AC3E}">
        <p14:creationId xmlns:p14="http://schemas.microsoft.com/office/powerpoint/2010/main" val="127169332"/>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2247709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41" name="think-cell Slide" r:id="rId8" imgW="6350000" imgH="6350000" progId="TCLayout.ActiveDocument.1">
                  <p:embed/>
                </p:oleObj>
              </mc:Choice>
              <mc:Fallback>
                <p:oleObj name="think-cell Slide" r:id="rId8" imgW="6350000" imgH="6350000" progId="TCLayout.ActiveDocument.1">
                  <p:embed/>
                  <p:pic>
                    <p:nvPicPr>
                      <p:cNvPr id="0" name="Picture 10"/>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3"/>
          <p:cNvSpPr>
            <a:spLocks noChangeArrowheads="1"/>
          </p:cNvSpPr>
          <p:nvPr/>
        </p:nvSpPr>
        <p:spPr bwMode="auto">
          <a:xfrm>
            <a:off x="3388028" y="2317737"/>
            <a:ext cx="1078263" cy="1078263"/>
          </a:xfrm>
          <a:prstGeom prst="rect">
            <a:avLst/>
          </a:prstGeom>
          <a:solidFill>
            <a:schemeClr val="tx2"/>
          </a:solidFill>
          <a:ln w="9525">
            <a:solidFill>
              <a:schemeClr val="bg1"/>
            </a:solidFill>
            <a:miter lim="800000"/>
            <a:headEnd/>
            <a:tailEnd/>
          </a:ln>
          <a:effectLst/>
        </p:spPr>
        <p:txBody>
          <a:bodyPr lIns="80147" tIns="40074" rIns="80147" bIns="40074">
            <a:prstTxWarp prst="textNoShape">
              <a:avLst/>
            </a:prstTxWarp>
          </a:bodyPr>
          <a:lstStyle/>
          <a:p>
            <a:pPr indent="-269827"/>
            <a:r>
              <a:rPr lang="nb-NO" sz="1600" dirty="0">
                <a:solidFill>
                  <a:schemeClr val="bg1"/>
                </a:solidFill>
                <a:latin typeface="Garamond"/>
              </a:rPr>
              <a:t>Text</a:t>
            </a:r>
            <a:endParaRPr lang="en-US" sz="1600" dirty="0">
              <a:solidFill>
                <a:schemeClr val="bg1"/>
              </a:solidFill>
              <a:latin typeface="Garamond"/>
            </a:endParaRPr>
          </a:p>
        </p:txBody>
      </p:sp>
      <p:sp>
        <p:nvSpPr>
          <p:cNvPr id="11" name="Line 7"/>
          <p:cNvSpPr>
            <a:spLocks noChangeShapeType="1"/>
          </p:cNvSpPr>
          <p:nvPr/>
        </p:nvSpPr>
        <p:spPr bwMode="auto">
          <a:xfrm>
            <a:off x="3388029" y="5848155"/>
            <a:ext cx="3206224" cy="0"/>
          </a:xfrm>
          <a:prstGeom prst="line">
            <a:avLst/>
          </a:prstGeom>
          <a:noFill/>
          <a:ln w="9525">
            <a:solidFill>
              <a:schemeClr val="tx1"/>
            </a:solidFill>
            <a:round/>
            <a:headEnd/>
            <a:tailEnd/>
          </a:ln>
          <a:effectLst/>
        </p:spPr>
        <p:txBody>
          <a:bodyPr lIns="104306" tIns="52153" rIns="104306" bIns="52153">
            <a:prstTxWarp prst="textNoShape">
              <a:avLst/>
            </a:prstTxWarp>
          </a:bodyPr>
          <a:lstStyle/>
          <a:p>
            <a:endParaRPr lang="en-GB" sz="1600" dirty="0">
              <a:latin typeface="Garamond"/>
            </a:endParaRPr>
          </a:p>
        </p:txBody>
      </p:sp>
      <p:sp>
        <p:nvSpPr>
          <p:cNvPr id="12" name="Line 8"/>
          <p:cNvSpPr>
            <a:spLocks noChangeShapeType="1"/>
          </p:cNvSpPr>
          <p:nvPr/>
        </p:nvSpPr>
        <p:spPr bwMode="auto">
          <a:xfrm rot="16200000">
            <a:off x="996569" y="3906567"/>
            <a:ext cx="3237645" cy="0"/>
          </a:xfrm>
          <a:prstGeom prst="line">
            <a:avLst/>
          </a:prstGeom>
          <a:noFill/>
          <a:ln w="9525">
            <a:solidFill>
              <a:srgbClr val="1F497D"/>
            </a:solidFill>
            <a:round/>
            <a:headEnd/>
            <a:tailEnd/>
          </a:ln>
          <a:effectLst/>
        </p:spPr>
        <p:txBody>
          <a:bodyPr lIns="104306" tIns="52153" rIns="104306" bIns="52153">
            <a:prstTxWarp prst="textNoShape">
              <a:avLst/>
            </a:prstTxWarp>
          </a:bodyPr>
          <a:lstStyle/>
          <a:p>
            <a:endParaRPr lang="en-GB" sz="1600" dirty="0">
              <a:latin typeface="Garamond"/>
            </a:endParaRPr>
          </a:p>
        </p:txBody>
      </p:sp>
      <p:sp>
        <p:nvSpPr>
          <p:cNvPr id="13" name="Text Box 9"/>
          <p:cNvSpPr txBox="1">
            <a:spLocks noChangeArrowheads="1"/>
          </p:cNvSpPr>
          <p:nvPr/>
        </p:nvSpPr>
        <p:spPr bwMode="auto">
          <a:xfrm>
            <a:off x="3285201" y="5521106"/>
            <a:ext cx="1343901" cy="351546"/>
          </a:xfrm>
          <a:prstGeom prst="rect">
            <a:avLst/>
          </a:prstGeom>
          <a:noFill/>
          <a:ln w="9525">
            <a:noFill/>
            <a:miter lim="800000"/>
            <a:headEnd/>
            <a:tailEnd/>
          </a:ln>
          <a:effectLst/>
        </p:spPr>
        <p:txBody>
          <a:bodyPr wrap="square" lIns="104306" tIns="52153" rIns="104306" bIns="52153">
            <a:prstTxWarp prst="textNoShape">
              <a:avLst/>
            </a:prstTxWarp>
            <a:spAutoFit/>
          </a:bodyPr>
          <a:lstStyle/>
          <a:p>
            <a:r>
              <a:rPr lang="nb-NO" sz="1600" dirty="0">
                <a:latin typeface="Garamond"/>
              </a:rPr>
              <a:t>Label</a:t>
            </a:r>
            <a:endParaRPr lang="en-US" sz="1600" dirty="0">
              <a:latin typeface="Garamond"/>
            </a:endParaRPr>
          </a:p>
        </p:txBody>
      </p:sp>
      <p:sp>
        <p:nvSpPr>
          <p:cNvPr id="14" name="Text Box 10"/>
          <p:cNvSpPr txBox="1">
            <a:spLocks noChangeArrowheads="1"/>
          </p:cNvSpPr>
          <p:nvPr/>
        </p:nvSpPr>
        <p:spPr bwMode="auto">
          <a:xfrm>
            <a:off x="5313192" y="5521106"/>
            <a:ext cx="1343901" cy="351546"/>
          </a:xfrm>
          <a:prstGeom prst="rect">
            <a:avLst/>
          </a:prstGeom>
          <a:noFill/>
          <a:ln w="9525">
            <a:noFill/>
            <a:miter lim="800000"/>
            <a:headEnd/>
            <a:tailEnd/>
          </a:ln>
          <a:effectLst/>
        </p:spPr>
        <p:txBody>
          <a:bodyPr wrap="square" lIns="104306" tIns="52153" rIns="104306" bIns="52153">
            <a:prstTxWarp prst="textNoShape">
              <a:avLst/>
            </a:prstTxWarp>
            <a:spAutoFit/>
          </a:bodyPr>
          <a:lstStyle/>
          <a:p>
            <a:pPr algn="r"/>
            <a:r>
              <a:rPr lang="nb-NO" sz="1600" dirty="0">
                <a:latin typeface="Garamond"/>
              </a:rPr>
              <a:t>Label</a:t>
            </a:r>
            <a:endParaRPr lang="en-US" sz="1600" dirty="0">
              <a:latin typeface="Garamond"/>
            </a:endParaRPr>
          </a:p>
        </p:txBody>
      </p:sp>
      <p:sp>
        <p:nvSpPr>
          <p:cNvPr id="15" name="Text Box 11"/>
          <p:cNvSpPr txBox="1">
            <a:spLocks noChangeArrowheads="1"/>
          </p:cNvSpPr>
          <p:nvPr/>
        </p:nvSpPr>
        <p:spPr bwMode="auto">
          <a:xfrm>
            <a:off x="4340612" y="5902425"/>
            <a:ext cx="1343902" cy="351546"/>
          </a:xfrm>
          <a:prstGeom prst="rect">
            <a:avLst/>
          </a:prstGeom>
          <a:noFill/>
          <a:ln w="9525">
            <a:noFill/>
            <a:miter lim="800000"/>
            <a:headEnd/>
            <a:tailEnd/>
          </a:ln>
          <a:effectLst/>
        </p:spPr>
        <p:txBody>
          <a:bodyPr wrap="square" lIns="104306" tIns="52153" rIns="104306" bIns="52153">
            <a:prstTxWarp prst="textNoShape">
              <a:avLst/>
            </a:prstTxWarp>
            <a:spAutoFit/>
          </a:bodyPr>
          <a:lstStyle/>
          <a:p>
            <a:pPr algn="ctr"/>
            <a:r>
              <a:rPr lang="nb-NO" sz="1600" dirty="0">
                <a:latin typeface="Garamond"/>
              </a:rPr>
              <a:t>Label</a:t>
            </a:r>
            <a:endParaRPr lang="en-US" sz="1600" dirty="0">
              <a:latin typeface="Garamond"/>
            </a:endParaRPr>
          </a:p>
        </p:txBody>
      </p:sp>
      <p:sp>
        <p:nvSpPr>
          <p:cNvPr id="16" name="Text Box 12"/>
          <p:cNvSpPr txBox="1">
            <a:spLocks noChangeArrowheads="1"/>
          </p:cNvSpPr>
          <p:nvPr/>
        </p:nvSpPr>
        <p:spPr bwMode="auto">
          <a:xfrm>
            <a:off x="1775632" y="3695805"/>
            <a:ext cx="839759" cy="351546"/>
          </a:xfrm>
          <a:prstGeom prst="rect">
            <a:avLst/>
          </a:prstGeom>
          <a:noFill/>
          <a:ln w="9525">
            <a:noFill/>
            <a:miter lim="800000"/>
            <a:headEnd/>
            <a:tailEnd/>
          </a:ln>
          <a:effectLst/>
        </p:spPr>
        <p:txBody>
          <a:bodyPr wrap="square" lIns="104306" tIns="52153" rIns="104306" bIns="52153" anchor="ctr">
            <a:prstTxWarp prst="textNoShape">
              <a:avLst/>
            </a:prstTxWarp>
            <a:spAutoFit/>
          </a:bodyPr>
          <a:lstStyle/>
          <a:p>
            <a:r>
              <a:rPr lang="nb-NO" sz="1600" dirty="0">
                <a:latin typeface="Garamond"/>
              </a:rPr>
              <a:t>Label</a:t>
            </a:r>
            <a:endParaRPr lang="en-US" sz="1600" dirty="0">
              <a:latin typeface="Garamond"/>
            </a:endParaRPr>
          </a:p>
        </p:txBody>
      </p:sp>
      <p:sp>
        <p:nvSpPr>
          <p:cNvPr id="17" name="Text Box 13"/>
          <p:cNvSpPr txBox="1">
            <a:spLocks noChangeArrowheads="1"/>
          </p:cNvSpPr>
          <p:nvPr/>
        </p:nvSpPr>
        <p:spPr bwMode="auto">
          <a:xfrm>
            <a:off x="2651096" y="2266322"/>
            <a:ext cx="749785" cy="351546"/>
          </a:xfrm>
          <a:prstGeom prst="rect">
            <a:avLst/>
          </a:prstGeom>
          <a:noFill/>
          <a:ln w="9525">
            <a:noFill/>
            <a:miter lim="800000"/>
            <a:headEnd/>
            <a:tailEnd/>
          </a:ln>
          <a:effectLst/>
        </p:spPr>
        <p:txBody>
          <a:bodyPr wrap="square" lIns="104306" tIns="52153" rIns="104306" bIns="52153">
            <a:prstTxWarp prst="textNoShape">
              <a:avLst/>
            </a:prstTxWarp>
            <a:spAutoFit/>
          </a:bodyPr>
          <a:lstStyle/>
          <a:p>
            <a:r>
              <a:rPr lang="nb-NO" sz="1600" dirty="0">
                <a:latin typeface="Garamond"/>
              </a:rPr>
              <a:t>Label</a:t>
            </a:r>
            <a:endParaRPr lang="en-US" sz="1600" dirty="0">
              <a:latin typeface="Garamond"/>
            </a:endParaRPr>
          </a:p>
        </p:txBody>
      </p:sp>
      <p:sp>
        <p:nvSpPr>
          <p:cNvPr id="18" name="Text Box 14"/>
          <p:cNvSpPr txBox="1">
            <a:spLocks noChangeArrowheads="1"/>
          </p:cNvSpPr>
          <p:nvPr/>
        </p:nvSpPr>
        <p:spPr bwMode="auto">
          <a:xfrm>
            <a:off x="2651096" y="5259534"/>
            <a:ext cx="749785" cy="351546"/>
          </a:xfrm>
          <a:prstGeom prst="rect">
            <a:avLst/>
          </a:prstGeom>
          <a:noFill/>
          <a:ln w="9525">
            <a:noFill/>
            <a:miter lim="800000"/>
            <a:headEnd/>
            <a:tailEnd/>
          </a:ln>
          <a:effectLst/>
        </p:spPr>
        <p:txBody>
          <a:bodyPr wrap="square" lIns="104306" tIns="52153" rIns="104306" bIns="52153" anchor="b">
            <a:prstTxWarp prst="textNoShape">
              <a:avLst/>
            </a:prstTxWarp>
            <a:spAutoFit/>
          </a:bodyPr>
          <a:lstStyle/>
          <a:p>
            <a:r>
              <a:rPr lang="nb-NO" sz="1600" dirty="0">
                <a:latin typeface="Garamond"/>
              </a:rPr>
              <a:t>Label</a:t>
            </a:r>
            <a:endParaRPr lang="en-US" sz="1600" dirty="0">
              <a:latin typeface="Garamond"/>
            </a:endParaRPr>
          </a:p>
        </p:txBody>
      </p:sp>
      <p:sp>
        <p:nvSpPr>
          <p:cNvPr id="19" name="Rectangle 15"/>
          <p:cNvSpPr>
            <a:spLocks noChangeArrowheads="1"/>
          </p:cNvSpPr>
          <p:nvPr/>
        </p:nvSpPr>
        <p:spPr bwMode="auto">
          <a:xfrm>
            <a:off x="3388028" y="3386002"/>
            <a:ext cx="1078263" cy="1078263"/>
          </a:xfrm>
          <a:prstGeom prst="rect">
            <a:avLst/>
          </a:prstGeom>
          <a:solidFill>
            <a:schemeClr val="tx2"/>
          </a:solidFill>
          <a:ln w="9525">
            <a:solidFill>
              <a:schemeClr val="bg1"/>
            </a:solidFill>
            <a:miter lim="800000"/>
            <a:headEnd/>
            <a:tailEnd/>
          </a:ln>
          <a:effectLst/>
        </p:spPr>
        <p:txBody>
          <a:bodyPr lIns="80147" tIns="40074" rIns="80147" bIns="40074">
            <a:prstTxWarp prst="textNoShape">
              <a:avLst/>
            </a:prstTxWarp>
          </a:bodyPr>
          <a:lstStyle/>
          <a:p>
            <a:pPr indent="-269827"/>
            <a:r>
              <a:rPr lang="nb-NO" sz="1600" dirty="0">
                <a:solidFill>
                  <a:schemeClr val="bg1"/>
                </a:solidFill>
                <a:latin typeface="Garamond"/>
              </a:rPr>
              <a:t>Text</a:t>
            </a:r>
            <a:endParaRPr lang="en-US" sz="1600" dirty="0">
              <a:solidFill>
                <a:schemeClr val="bg1"/>
              </a:solidFill>
              <a:latin typeface="Garamond"/>
            </a:endParaRPr>
          </a:p>
        </p:txBody>
      </p:sp>
      <p:sp>
        <p:nvSpPr>
          <p:cNvPr id="20" name="Rectangle 16"/>
          <p:cNvSpPr>
            <a:spLocks noChangeArrowheads="1"/>
          </p:cNvSpPr>
          <p:nvPr/>
        </p:nvSpPr>
        <p:spPr bwMode="auto">
          <a:xfrm>
            <a:off x="3388028" y="4455697"/>
            <a:ext cx="1078263" cy="1078262"/>
          </a:xfrm>
          <a:prstGeom prst="rect">
            <a:avLst/>
          </a:prstGeom>
          <a:solidFill>
            <a:schemeClr val="tx2"/>
          </a:solidFill>
          <a:ln w="9525">
            <a:solidFill>
              <a:schemeClr val="bg1"/>
            </a:solidFill>
            <a:miter lim="800000"/>
            <a:headEnd/>
            <a:tailEnd/>
          </a:ln>
          <a:effectLst/>
        </p:spPr>
        <p:txBody>
          <a:bodyPr lIns="80147" tIns="40074" rIns="80147" bIns="40074">
            <a:prstTxWarp prst="textNoShape">
              <a:avLst/>
            </a:prstTxWarp>
          </a:bodyPr>
          <a:lstStyle/>
          <a:p>
            <a:pPr indent="-269827"/>
            <a:r>
              <a:rPr lang="nb-NO" sz="1600" dirty="0">
                <a:solidFill>
                  <a:schemeClr val="bg1"/>
                </a:solidFill>
                <a:latin typeface="Garamond"/>
              </a:rPr>
              <a:t>Text</a:t>
            </a:r>
            <a:endParaRPr lang="en-US" sz="1600" dirty="0">
              <a:solidFill>
                <a:schemeClr val="bg1"/>
              </a:solidFill>
              <a:latin typeface="Garamond"/>
            </a:endParaRPr>
          </a:p>
        </p:txBody>
      </p:sp>
      <p:sp>
        <p:nvSpPr>
          <p:cNvPr id="21" name="Rectangle 17"/>
          <p:cNvSpPr>
            <a:spLocks noChangeArrowheads="1"/>
          </p:cNvSpPr>
          <p:nvPr/>
        </p:nvSpPr>
        <p:spPr bwMode="auto">
          <a:xfrm>
            <a:off x="4443440" y="2317737"/>
            <a:ext cx="1078263" cy="1078263"/>
          </a:xfrm>
          <a:prstGeom prst="rect">
            <a:avLst/>
          </a:prstGeom>
          <a:solidFill>
            <a:schemeClr val="tx2"/>
          </a:solidFill>
          <a:ln w="9525">
            <a:solidFill>
              <a:schemeClr val="bg1"/>
            </a:solidFill>
            <a:miter lim="800000"/>
            <a:headEnd/>
            <a:tailEnd/>
          </a:ln>
          <a:effectLst/>
        </p:spPr>
        <p:txBody>
          <a:bodyPr lIns="80147" tIns="40074" rIns="80147" bIns="40074">
            <a:prstTxWarp prst="textNoShape">
              <a:avLst/>
            </a:prstTxWarp>
          </a:bodyPr>
          <a:lstStyle/>
          <a:p>
            <a:pPr indent="-269827"/>
            <a:r>
              <a:rPr lang="nb-NO" sz="1600" dirty="0">
                <a:solidFill>
                  <a:schemeClr val="bg1"/>
                </a:solidFill>
                <a:latin typeface="Garamond"/>
              </a:rPr>
              <a:t>Text</a:t>
            </a:r>
            <a:endParaRPr lang="en-US" sz="1600" dirty="0">
              <a:solidFill>
                <a:schemeClr val="bg1"/>
              </a:solidFill>
              <a:latin typeface="Garamond"/>
            </a:endParaRPr>
          </a:p>
        </p:txBody>
      </p:sp>
      <p:sp>
        <p:nvSpPr>
          <p:cNvPr id="22" name="Rectangle 18"/>
          <p:cNvSpPr>
            <a:spLocks noChangeArrowheads="1"/>
          </p:cNvSpPr>
          <p:nvPr/>
        </p:nvSpPr>
        <p:spPr bwMode="auto">
          <a:xfrm>
            <a:off x="4443440" y="3386002"/>
            <a:ext cx="1078263" cy="1078263"/>
          </a:xfrm>
          <a:prstGeom prst="rect">
            <a:avLst/>
          </a:prstGeom>
          <a:solidFill>
            <a:schemeClr val="tx2"/>
          </a:solidFill>
          <a:ln w="9525">
            <a:solidFill>
              <a:schemeClr val="bg1"/>
            </a:solidFill>
            <a:miter lim="800000"/>
            <a:headEnd/>
            <a:tailEnd/>
          </a:ln>
          <a:effectLst/>
        </p:spPr>
        <p:txBody>
          <a:bodyPr lIns="80147" tIns="40074" rIns="80147" bIns="40074">
            <a:prstTxWarp prst="textNoShape">
              <a:avLst/>
            </a:prstTxWarp>
          </a:bodyPr>
          <a:lstStyle/>
          <a:p>
            <a:pPr indent="-269827"/>
            <a:r>
              <a:rPr lang="nb-NO" sz="1600" dirty="0">
                <a:solidFill>
                  <a:schemeClr val="bg1"/>
                </a:solidFill>
                <a:latin typeface="Garamond"/>
              </a:rPr>
              <a:t>Text</a:t>
            </a:r>
            <a:endParaRPr lang="en-US" sz="1600" dirty="0">
              <a:solidFill>
                <a:schemeClr val="bg1"/>
              </a:solidFill>
              <a:latin typeface="Garamond"/>
            </a:endParaRPr>
          </a:p>
        </p:txBody>
      </p:sp>
      <p:sp>
        <p:nvSpPr>
          <p:cNvPr id="23" name="Rectangle 19"/>
          <p:cNvSpPr>
            <a:spLocks noChangeArrowheads="1"/>
          </p:cNvSpPr>
          <p:nvPr/>
        </p:nvSpPr>
        <p:spPr bwMode="auto">
          <a:xfrm>
            <a:off x="4443440" y="4455697"/>
            <a:ext cx="1078263" cy="1078262"/>
          </a:xfrm>
          <a:prstGeom prst="rect">
            <a:avLst/>
          </a:prstGeom>
          <a:solidFill>
            <a:schemeClr val="tx2"/>
          </a:solidFill>
          <a:ln w="9525">
            <a:solidFill>
              <a:schemeClr val="bg1"/>
            </a:solidFill>
            <a:miter lim="800000"/>
            <a:headEnd/>
            <a:tailEnd/>
          </a:ln>
          <a:effectLst/>
        </p:spPr>
        <p:txBody>
          <a:bodyPr lIns="80147" tIns="40074" rIns="80147" bIns="40074">
            <a:prstTxWarp prst="textNoShape">
              <a:avLst/>
            </a:prstTxWarp>
          </a:bodyPr>
          <a:lstStyle/>
          <a:p>
            <a:pPr indent="-269827"/>
            <a:r>
              <a:rPr lang="nb-NO" sz="1600" dirty="0">
                <a:solidFill>
                  <a:schemeClr val="bg1"/>
                </a:solidFill>
                <a:latin typeface="Garamond"/>
              </a:rPr>
              <a:t>Text</a:t>
            </a:r>
            <a:endParaRPr lang="en-US" sz="1600" dirty="0">
              <a:solidFill>
                <a:schemeClr val="bg1"/>
              </a:solidFill>
              <a:latin typeface="Garamond"/>
            </a:endParaRPr>
          </a:p>
        </p:txBody>
      </p:sp>
      <p:sp>
        <p:nvSpPr>
          <p:cNvPr id="24" name="Rectangle 20"/>
          <p:cNvSpPr>
            <a:spLocks noChangeArrowheads="1"/>
          </p:cNvSpPr>
          <p:nvPr/>
        </p:nvSpPr>
        <p:spPr bwMode="auto">
          <a:xfrm>
            <a:off x="5508849" y="2317737"/>
            <a:ext cx="1078263" cy="1078263"/>
          </a:xfrm>
          <a:prstGeom prst="rect">
            <a:avLst/>
          </a:prstGeom>
          <a:solidFill>
            <a:schemeClr val="tx2"/>
          </a:solidFill>
          <a:ln w="9525">
            <a:solidFill>
              <a:schemeClr val="bg1"/>
            </a:solidFill>
            <a:miter lim="800000"/>
            <a:headEnd/>
            <a:tailEnd/>
          </a:ln>
          <a:effectLst/>
        </p:spPr>
        <p:txBody>
          <a:bodyPr lIns="80147" tIns="40074" rIns="80147" bIns="40074">
            <a:prstTxWarp prst="textNoShape">
              <a:avLst/>
            </a:prstTxWarp>
          </a:bodyPr>
          <a:lstStyle/>
          <a:p>
            <a:pPr indent="-269827"/>
            <a:r>
              <a:rPr lang="nb-NO" sz="1600" dirty="0">
                <a:solidFill>
                  <a:schemeClr val="bg1"/>
                </a:solidFill>
                <a:latin typeface="Garamond"/>
              </a:rPr>
              <a:t>Text</a:t>
            </a:r>
            <a:endParaRPr lang="en-US" sz="1600" dirty="0">
              <a:solidFill>
                <a:schemeClr val="bg1"/>
              </a:solidFill>
              <a:latin typeface="Garamond"/>
            </a:endParaRPr>
          </a:p>
        </p:txBody>
      </p:sp>
      <p:sp>
        <p:nvSpPr>
          <p:cNvPr id="25" name="Rectangle 21"/>
          <p:cNvSpPr>
            <a:spLocks noChangeArrowheads="1"/>
          </p:cNvSpPr>
          <p:nvPr/>
        </p:nvSpPr>
        <p:spPr bwMode="auto">
          <a:xfrm>
            <a:off x="5508849" y="3386002"/>
            <a:ext cx="1078263" cy="1078263"/>
          </a:xfrm>
          <a:prstGeom prst="rect">
            <a:avLst/>
          </a:prstGeom>
          <a:solidFill>
            <a:schemeClr val="tx2"/>
          </a:solidFill>
          <a:ln w="9525">
            <a:solidFill>
              <a:schemeClr val="bg1"/>
            </a:solidFill>
            <a:miter lim="800000"/>
            <a:headEnd/>
            <a:tailEnd/>
          </a:ln>
          <a:effectLst/>
        </p:spPr>
        <p:txBody>
          <a:bodyPr lIns="80147" tIns="40074" rIns="80147" bIns="40074">
            <a:prstTxWarp prst="textNoShape">
              <a:avLst/>
            </a:prstTxWarp>
          </a:bodyPr>
          <a:lstStyle/>
          <a:p>
            <a:pPr indent="-269827"/>
            <a:r>
              <a:rPr lang="nb-NO" sz="1600" dirty="0">
                <a:solidFill>
                  <a:schemeClr val="bg1"/>
                </a:solidFill>
                <a:latin typeface="Garamond"/>
              </a:rPr>
              <a:t>Text</a:t>
            </a:r>
            <a:endParaRPr lang="en-US" sz="1600" dirty="0">
              <a:solidFill>
                <a:schemeClr val="bg1"/>
              </a:solidFill>
              <a:latin typeface="Garamond"/>
            </a:endParaRPr>
          </a:p>
        </p:txBody>
      </p:sp>
      <p:sp>
        <p:nvSpPr>
          <p:cNvPr id="26" name="Rectangle 22"/>
          <p:cNvSpPr>
            <a:spLocks noChangeArrowheads="1"/>
          </p:cNvSpPr>
          <p:nvPr/>
        </p:nvSpPr>
        <p:spPr bwMode="auto">
          <a:xfrm>
            <a:off x="5508849" y="4455697"/>
            <a:ext cx="1078263" cy="1078262"/>
          </a:xfrm>
          <a:prstGeom prst="rect">
            <a:avLst/>
          </a:prstGeom>
          <a:solidFill>
            <a:schemeClr val="tx2"/>
          </a:solidFill>
          <a:ln w="9525">
            <a:solidFill>
              <a:schemeClr val="bg1"/>
            </a:solidFill>
            <a:miter lim="800000"/>
            <a:headEnd/>
            <a:tailEnd/>
          </a:ln>
          <a:effectLst/>
        </p:spPr>
        <p:txBody>
          <a:bodyPr lIns="80147" tIns="40074" rIns="80147" bIns="40074">
            <a:prstTxWarp prst="textNoShape">
              <a:avLst/>
            </a:prstTxWarp>
          </a:bodyPr>
          <a:lstStyle/>
          <a:p>
            <a:pPr indent="-269827"/>
            <a:r>
              <a:rPr lang="nb-NO" sz="1600" dirty="0">
                <a:solidFill>
                  <a:schemeClr val="bg1"/>
                </a:solidFill>
                <a:latin typeface="Garamond"/>
              </a:rPr>
              <a:t>Text</a:t>
            </a:r>
            <a:endParaRPr lang="en-US" sz="1600" dirty="0">
              <a:solidFill>
                <a:schemeClr val="bg1"/>
              </a:solidFill>
              <a:latin typeface="Garamond"/>
            </a:endParaRPr>
          </a:p>
        </p:txBody>
      </p:sp>
      <p:sp>
        <p:nvSpPr>
          <p:cNvPr id="28" name="Title 3"/>
          <p:cNvSpPr txBox="1">
            <a:spLocks/>
          </p:cNvSpPr>
          <p:nvPr>
            <p:custDataLst>
              <p:tags r:id="rId3"/>
            </p:custDataLst>
          </p:nvPr>
        </p:nvSpPr>
        <p:spPr>
          <a:xfrm>
            <a:off x="754204" y="5545148"/>
            <a:ext cx="6891495" cy="822961"/>
          </a:xfrm>
          <a:prstGeom prst="rect">
            <a:avLst/>
          </a:prstGeom>
        </p:spPr>
        <p:txBody>
          <a:bodyPr vert="horz" lIns="80133" tIns="40067" rIns="80133" bIns="40067" rtlCol="0" anchor="b" anchorCtr="0">
            <a:normAutofit/>
          </a:bodyPr>
          <a:lstStyle>
            <a:lvl1pPr algn="l" defTabSz="914239" rtl="0" eaLnBrk="1" latinLnBrk="0" hangingPunct="1">
              <a:spcBef>
                <a:spcPct val="0"/>
              </a:spcBef>
              <a:buNone/>
              <a:defRPr sz="2800" kern="1200">
                <a:solidFill>
                  <a:schemeClr val="accent1"/>
                </a:solidFill>
                <a:latin typeface="Garamond" pitchFamily="18" charset="0"/>
                <a:ea typeface="+mj-ea"/>
                <a:cs typeface="+mj-cs"/>
              </a:defRPr>
            </a:lvl1pPr>
          </a:lstStyle>
          <a:p>
            <a:r>
              <a:rPr lang="en-GB" sz="1200" dirty="0">
                <a:solidFill>
                  <a:schemeClr val="tx2"/>
                </a:solidFill>
              </a:rPr>
              <a:t>Footnotes and assumptions: list</a:t>
            </a:r>
          </a:p>
          <a:p>
            <a:r>
              <a:rPr lang="en-GB" sz="1200" dirty="0">
                <a:solidFill>
                  <a:schemeClr val="tx2"/>
                </a:solidFill>
              </a:rPr>
              <a:t>Source: List sources</a:t>
            </a:r>
          </a:p>
        </p:txBody>
      </p:sp>
      <p:sp>
        <p:nvSpPr>
          <p:cNvPr id="29" name="Rectangle 4"/>
          <p:cNvSpPr>
            <a:spLocks noGrp="1" noChangeArrowheads="1"/>
          </p:cNvSpPr>
          <p:nvPr>
            <p:ph type="title"/>
            <p:custDataLst>
              <p:tags r:id="rId4"/>
            </p:custDataLst>
          </p:nvPr>
        </p:nvSpPr>
        <p:spPr/>
        <p:txBody>
          <a:bodyPr/>
          <a:lstStyle/>
          <a:p>
            <a:r>
              <a:rPr lang="en-GB" dirty="0" smtClean="0"/>
              <a:t>Message title – </a:t>
            </a:r>
            <a:r>
              <a:rPr lang="en-US" dirty="0" smtClean="0"/>
              <a:t>why are you showing it? matrix</a:t>
            </a:r>
            <a:endParaRPr lang="en-GB" dirty="0"/>
          </a:p>
        </p:txBody>
      </p:sp>
      <p:sp>
        <p:nvSpPr>
          <p:cNvPr id="5" name="Footer Placeholder 4"/>
          <p:cNvSpPr>
            <a:spLocks noGrp="1"/>
          </p:cNvSpPr>
          <p:nvPr>
            <p:ph type="ftr" sz="quarter" idx="3"/>
          </p:nvPr>
        </p:nvSpPr>
        <p:spPr/>
        <p:txBody>
          <a:bodyPr/>
          <a:lstStyle/>
          <a:p>
            <a:r>
              <a:rPr lang="en-US" dirty="0" smtClean="0"/>
              <a:t>neil young |neil@ogcommunicationdesign.com |www.ogcommunicationdesign.com</a:t>
            </a:r>
            <a:endParaRPr lang="en-US" dirty="0"/>
          </a:p>
        </p:txBody>
      </p:sp>
      <p:sp>
        <p:nvSpPr>
          <p:cNvPr id="32" name="Slide Number Placeholder 31"/>
          <p:cNvSpPr>
            <a:spLocks noGrp="1"/>
          </p:cNvSpPr>
          <p:nvPr>
            <p:ph type="sldNum" sz="quarter" idx="4"/>
            <p:custDataLst>
              <p:tags r:id="rId5"/>
            </p:custDataLst>
          </p:nvPr>
        </p:nvSpPr>
        <p:spPr/>
        <p:txBody>
          <a:bodyPr/>
          <a:lstStyle/>
          <a:p>
            <a:fld id="{27F67E6B-0F24-40AE-9272-914C56B63673}" type="slidenum">
              <a:rPr lang="en-AU" smtClean="0"/>
              <a:pPr/>
              <a:t>5</a:t>
            </a:fld>
            <a:r>
              <a:rPr lang="en-AU" dirty="0" smtClean="0"/>
              <a:t> </a:t>
            </a:r>
            <a:endParaRPr lang="en-AU" dirty="0"/>
          </a:p>
        </p:txBody>
      </p:sp>
      <p:sp>
        <p:nvSpPr>
          <p:cNvPr id="27" name="TextBox 26"/>
          <p:cNvSpPr txBox="1"/>
          <p:nvPr>
            <p:custDataLst>
              <p:tags r:id="rId6"/>
            </p:custDataLst>
          </p:nvPr>
        </p:nvSpPr>
        <p:spPr>
          <a:xfrm>
            <a:off x="755338" y="1481982"/>
            <a:ext cx="7606753" cy="362896"/>
          </a:xfrm>
          <a:prstGeom prst="rect">
            <a:avLst/>
          </a:prstGeom>
          <a:noFill/>
        </p:spPr>
        <p:txBody>
          <a:bodyPr wrap="square" lIns="80147" tIns="40074" rIns="80147" bIns="40074" rtlCol="0">
            <a:spAutoFit/>
          </a:bodyPr>
          <a:lstStyle/>
          <a:p>
            <a:r>
              <a:rPr lang="en-ZW" dirty="0">
                <a:latin typeface="Garamond" pitchFamily="18" charset="0"/>
              </a:rPr>
              <a:t>Title – what are you showing on this page?</a:t>
            </a:r>
          </a:p>
        </p:txBody>
      </p:sp>
    </p:spTree>
    <p:extLst>
      <p:ext uri="{BB962C8B-B14F-4D97-AF65-F5344CB8AC3E}">
        <p14:creationId xmlns:p14="http://schemas.microsoft.com/office/powerpoint/2010/main" val="127169332"/>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4021750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89" name="think-cell Slide" r:id="rId8" imgW="6350000" imgH="6350000" progId="TCLayout.ActiveDocument.1">
                  <p:embed/>
                </p:oleObj>
              </mc:Choice>
              <mc:Fallback>
                <p:oleObj name="think-cell Slide" r:id="rId8" imgW="6350000" imgH="6350000" progId="TCLayout.ActiveDocument.1">
                  <p:embed/>
                  <p:pic>
                    <p:nvPicPr>
                      <p:cNvPr id="0" name="Picture 10"/>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Freeform 4"/>
          <p:cNvSpPr>
            <a:spLocks/>
          </p:cNvSpPr>
          <p:nvPr/>
        </p:nvSpPr>
        <p:spPr bwMode="auto">
          <a:xfrm>
            <a:off x="5388499" y="2184398"/>
            <a:ext cx="1829106" cy="3096549"/>
          </a:xfrm>
          <a:custGeom>
            <a:avLst/>
            <a:gdLst>
              <a:gd name="T0" fmla="*/ 0 w 1331"/>
              <a:gd name="T1" fmla="*/ 3080591 h 2591"/>
              <a:gd name="T2" fmla="*/ 1269847 w 1331"/>
              <a:gd name="T3" fmla="*/ 3080591 h 2591"/>
              <a:gd name="T4" fmla="*/ 1269847 w 1331"/>
              <a:gd name="T5" fmla="*/ 3648253 h 2591"/>
              <a:gd name="T6" fmla="*/ 2154205 w 1331"/>
              <a:gd name="T7" fmla="*/ 1824127 h 2591"/>
              <a:gd name="T8" fmla="*/ 1269847 w 1331"/>
              <a:gd name="T9" fmla="*/ 0 h 2591"/>
              <a:gd name="T10" fmla="*/ 1269847 w 1331"/>
              <a:gd name="T11" fmla="*/ 553577 h 2591"/>
              <a:gd name="T12" fmla="*/ 0 w 1331"/>
              <a:gd name="T13" fmla="*/ 553577 h 2591"/>
              <a:gd name="T14" fmla="*/ 570136 w 1331"/>
              <a:gd name="T15" fmla="*/ 1824127 h 2591"/>
              <a:gd name="T16" fmla="*/ 0 w 1331"/>
              <a:gd name="T17" fmla="*/ 3080591 h 259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31" h="2591">
                <a:moveTo>
                  <a:pt x="0" y="2187"/>
                </a:moveTo>
                <a:lnTo>
                  <a:pt x="784" y="2187"/>
                </a:lnTo>
                <a:lnTo>
                  <a:pt x="784" y="2590"/>
                </a:lnTo>
                <a:lnTo>
                  <a:pt x="1330" y="1295"/>
                </a:lnTo>
                <a:lnTo>
                  <a:pt x="784" y="0"/>
                </a:lnTo>
                <a:lnTo>
                  <a:pt x="784" y="393"/>
                </a:lnTo>
                <a:lnTo>
                  <a:pt x="0" y="393"/>
                </a:lnTo>
                <a:lnTo>
                  <a:pt x="352" y="1295"/>
                </a:lnTo>
                <a:lnTo>
                  <a:pt x="0" y="2187"/>
                </a:lnTo>
              </a:path>
            </a:pathLst>
          </a:custGeom>
          <a:solidFill>
            <a:schemeClr val="tx2"/>
          </a:solidFill>
          <a:ln w="9525">
            <a:solidFill>
              <a:schemeClr val="bg1"/>
            </a:solidFill>
            <a:miter lim="800000"/>
            <a:headEnd/>
            <a:tailEnd/>
          </a:ln>
          <a:effectLst/>
        </p:spPr>
        <p:txBody>
          <a:bodyPr lIns="80147" tIns="40074" rIns="80147" bIns="40074">
            <a:prstTxWarp prst="textNoShape">
              <a:avLst/>
            </a:prstTxWarp>
          </a:bodyPr>
          <a:lstStyle/>
          <a:p>
            <a:pPr indent="-269827"/>
            <a:endParaRPr lang="en-GB" sz="1600" dirty="0">
              <a:solidFill>
                <a:srgbClr val="FFFFFF"/>
              </a:solidFill>
              <a:latin typeface="Garamond"/>
            </a:endParaRPr>
          </a:p>
        </p:txBody>
      </p:sp>
      <p:sp>
        <p:nvSpPr>
          <p:cNvPr id="11" name="Freeform 5"/>
          <p:cNvSpPr>
            <a:spLocks/>
          </p:cNvSpPr>
          <p:nvPr/>
        </p:nvSpPr>
        <p:spPr bwMode="auto">
          <a:xfrm>
            <a:off x="3483966" y="2654470"/>
            <a:ext cx="2247995" cy="1035776"/>
          </a:xfrm>
          <a:custGeom>
            <a:avLst/>
            <a:gdLst>
              <a:gd name="T0" fmla="*/ 2102139 w 1636"/>
              <a:gd name="T1" fmla="*/ 0 h 867"/>
              <a:gd name="T2" fmla="*/ 2647917 w 1636"/>
              <a:gd name="T3" fmla="*/ 1219380 h 867"/>
              <a:gd name="T4" fmla="*/ 595984 w 1636"/>
              <a:gd name="T5" fmla="*/ 1219380 h 867"/>
              <a:gd name="T6" fmla="*/ 0 w 1636"/>
              <a:gd name="T7" fmla="*/ 0 h 867"/>
              <a:gd name="T8" fmla="*/ 2102139 w 1636"/>
              <a:gd name="T9" fmla="*/ 0 h 86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636" h="867">
                <a:moveTo>
                  <a:pt x="1298" y="0"/>
                </a:moveTo>
                <a:lnTo>
                  <a:pt x="1635" y="866"/>
                </a:lnTo>
                <a:lnTo>
                  <a:pt x="368" y="866"/>
                </a:lnTo>
                <a:lnTo>
                  <a:pt x="0" y="0"/>
                </a:lnTo>
                <a:lnTo>
                  <a:pt x="1298" y="0"/>
                </a:lnTo>
              </a:path>
            </a:pathLst>
          </a:custGeom>
          <a:solidFill>
            <a:schemeClr val="tx2"/>
          </a:solidFill>
          <a:ln w="9525">
            <a:solidFill>
              <a:schemeClr val="bg1"/>
            </a:solidFill>
            <a:miter lim="800000"/>
            <a:headEnd/>
            <a:tailEnd/>
          </a:ln>
          <a:effectLst/>
        </p:spPr>
        <p:txBody>
          <a:bodyPr lIns="80147" tIns="40074" rIns="80147" bIns="40074">
            <a:prstTxWarp prst="textNoShape">
              <a:avLst/>
            </a:prstTxWarp>
          </a:bodyPr>
          <a:lstStyle/>
          <a:p>
            <a:pPr indent="-269827"/>
            <a:endParaRPr lang="en-GB" sz="1600" dirty="0">
              <a:solidFill>
                <a:srgbClr val="FFFFFF"/>
              </a:solidFill>
              <a:latin typeface="Garamond"/>
            </a:endParaRPr>
          </a:p>
        </p:txBody>
      </p:sp>
      <p:sp>
        <p:nvSpPr>
          <p:cNvPr id="12" name="Freeform 6"/>
          <p:cNvSpPr>
            <a:spLocks/>
          </p:cNvSpPr>
          <p:nvPr/>
        </p:nvSpPr>
        <p:spPr bwMode="auto">
          <a:xfrm>
            <a:off x="3483966" y="3764325"/>
            <a:ext cx="2247995" cy="1035776"/>
          </a:xfrm>
          <a:custGeom>
            <a:avLst/>
            <a:gdLst>
              <a:gd name="T0" fmla="*/ 2102139 w 1636"/>
              <a:gd name="T1" fmla="*/ 1219380 h 867"/>
              <a:gd name="T2" fmla="*/ 2647917 w 1636"/>
              <a:gd name="T3" fmla="*/ 0 h 867"/>
              <a:gd name="T4" fmla="*/ 570072 w 1636"/>
              <a:gd name="T5" fmla="*/ 0 h 867"/>
              <a:gd name="T6" fmla="*/ 0 w 1636"/>
              <a:gd name="T7" fmla="*/ 1219380 h 867"/>
              <a:gd name="T8" fmla="*/ 2102139 w 1636"/>
              <a:gd name="T9" fmla="*/ 1219380 h 86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636" h="867">
                <a:moveTo>
                  <a:pt x="1298" y="866"/>
                </a:moveTo>
                <a:lnTo>
                  <a:pt x="1635" y="0"/>
                </a:lnTo>
                <a:lnTo>
                  <a:pt x="352" y="0"/>
                </a:lnTo>
                <a:lnTo>
                  <a:pt x="0" y="866"/>
                </a:lnTo>
                <a:lnTo>
                  <a:pt x="1298" y="866"/>
                </a:lnTo>
              </a:path>
            </a:pathLst>
          </a:custGeom>
          <a:solidFill>
            <a:schemeClr val="tx2"/>
          </a:solidFill>
          <a:ln w="9525">
            <a:solidFill>
              <a:schemeClr val="bg1"/>
            </a:solidFill>
            <a:miter lim="800000"/>
            <a:headEnd/>
            <a:tailEnd/>
          </a:ln>
          <a:effectLst/>
        </p:spPr>
        <p:txBody>
          <a:bodyPr lIns="80147" tIns="40074" rIns="80147" bIns="40074">
            <a:prstTxWarp prst="textNoShape">
              <a:avLst/>
            </a:prstTxWarp>
          </a:bodyPr>
          <a:lstStyle/>
          <a:p>
            <a:pPr indent="-269827"/>
            <a:endParaRPr lang="en-GB" sz="1600" dirty="0">
              <a:solidFill>
                <a:srgbClr val="FFFFFF"/>
              </a:solidFill>
              <a:latin typeface="Garamond"/>
            </a:endParaRPr>
          </a:p>
        </p:txBody>
      </p:sp>
      <p:sp>
        <p:nvSpPr>
          <p:cNvPr id="13" name="Freeform 7"/>
          <p:cNvSpPr>
            <a:spLocks/>
          </p:cNvSpPr>
          <p:nvPr/>
        </p:nvSpPr>
        <p:spPr bwMode="auto">
          <a:xfrm>
            <a:off x="1944446" y="2654470"/>
            <a:ext cx="1927431" cy="2134855"/>
          </a:xfrm>
          <a:custGeom>
            <a:avLst/>
            <a:gdLst>
              <a:gd name="T0" fmla="*/ 2270093 w 1402"/>
              <a:gd name="T1" fmla="*/ 1244718 h 1787"/>
              <a:gd name="T2" fmla="*/ 1672188 w 1402"/>
              <a:gd name="T3" fmla="*/ 0 h 1787"/>
              <a:gd name="T4" fmla="*/ 0 w 1402"/>
              <a:gd name="T5" fmla="*/ 0 h 1787"/>
              <a:gd name="T6" fmla="*/ 0 w 1402"/>
              <a:gd name="T7" fmla="*/ 2514780 h 1787"/>
              <a:gd name="T8" fmla="*/ 1672188 w 1402"/>
              <a:gd name="T9" fmla="*/ 2514780 h 1787"/>
              <a:gd name="T10" fmla="*/ 2270093 w 1402"/>
              <a:gd name="T11" fmla="*/ 1244718 h 178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402" h="1787">
                <a:moveTo>
                  <a:pt x="1401" y="884"/>
                </a:moveTo>
                <a:lnTo>
                  <a:pt x="1032" y="0"/>
                </a:lnTo>
                <a:lnTo>
                  <a:pt x="0" y="0"/>
                </a:lnTo>
                <a:lnTo>
                  <a:pt x="0" y="1786"/>
                </a:lnTo>
                <a:lnTo>
                  <a:pt x="1032" y="1786"/>
                </a:lnTo>
                <a:lnTo>
                  <a:pt x="1401" y="884"/>
                </a:lnTo>
              </a:path>
            </a:pathLst>
          </a:custGeom>
          <a:solidFill>
            <a:schemeClr val="tx2"/>
          </a:solidFill>
          <a:ln w="9525">
            <a:solidFill>
              <a:schemeClr val="bg1"/>
            </a:solidFill>
            <a:miter lim="800000"/>
            <a:headEnd/>
            <a:tailEnd/>
          </a:ln>
          <a:effectLst/>
        </p:spPr>
        <p:txBody>
          <a:bodyPr lIns="80147" tIns="40074" rIns="80147" bIns="40074">
            <a:prstTxWarp prst="textNoShape">
              <a:avLst/>
            </a:prstTxWarp>
          </a:bodyPr>
          <a:lstStyle/>
          <a:p>
            <a:pPr indent="-269827"/>
            <a:endParaRPr lang="en-GB" sz="1600" dirty="0">
              <a:solidFill>
                <a:srgbClr val="FFFFFF"/>
              </a:solidFill>
              <a:latin typeface="Garamond"/>
            </a:endParaRPr>
          </a:p>
        </p:txBody>
      </p:sp>
      <p:sp>
        <p:nvSpPr>
          <p:cNvPr id="14" name="Rectangle 8"/>
          <p:cNvSpPr>
            <a:spLocks noChangeArrowheads="1"/>
          </p:cNvSpPr>
          <p:nvPr/>
        </p:nvSpPr>
        <p:spPr bwMode="auto">
          <a:xfrm>
            <a:off x="1944446" y="2654470"/>
            <a:ext cx="1456012" cy="340735"/>
          </a:xfrm>
          <a:prstGeom prst="rect">
            <a:avLst/>
          </a:prstGeom>
          <a:noFill/>
          <a:ln w="9525">
            <a:noFill/>
            <a:miter lim="800000"/>
            <a:headEnd/>
            <a:tailEnd/>
          </a:ln>
          <a:effectLst/>
        </p:spPr>
        <p:txBody>
          <a:bodyPr wrap="square" lIns="90000" tIns="46800" rIns="90000" bIns="46800">
            <a:prstTxWarp prst="textNoShape">
              <a:avLst/>
            </a:prstTxWarp>
            <a:spAutoFit/>
          </a:bodyPr>
          <a:lstStyle/>
          <a:p>
            <a:pPr defTabSz="787261">
              <a:buClr>
                <a:schemeClr val="accent1"/>
              </a:buClr>
            </a:pPr>
            <a:r>
              <a:rPr lang="en-AU" sz="1600" dirty="0">
                <a:solidFill>
                  <a:srgbClr val="FFFFFF"/>
                </a:solidFill>
                <a:latin typeface="Garamond"/>
              </a:rPr>
              <a:t>Text</a:t>
            </a:r>
          </a:p>
        </p:txBody>
      </p:sp>
      <p:sp>
        <p:nvSpPr>
          <p:cNvPr id="15" name="Rectangle 9"/>
          <p:cNvSpPr>
            <a:spLocks noChangeArrowheads="1"/>
          </p:cNvSpPr>
          <p:nvPr/>
        </p:nvSpPr>
        <p:spPr bwMode="auto">
          <a:xfrm>
            <a:off x="3945957" y="2654470"/>
            <a:ext cx="1456012" cy="340735"/>
          </a:xfrm>
          <a:prstGeom prst="rect">
            <a:avLst/>
          </a:prstGeom>
          <a:noFill/>
          <a:ln w="9525">
            <a:noFill/>
            <a:miter lim="800000"/>
            <a:headEnd/>
            <a:tailEnd/>
          </a:ln>
          <a:effectLst/>
        </p:spPr>
        <p:txBody>
          <a:bodyPr wrap="square" lIns="90000" tIns="46800" rIns="90000" bIns="46800">
            <a:prstTxWarp prst="textNoShape">
              <a:avLst/>
            </a:prstTxWarp>
            <a:spAutoFit/>
          </a:bodyPr>
          <a:lstStyle/>
          <a:p>
            <a:pPr defTabSz="787261">
              <a:buClr>
                <a:schemeClr val="accent1"/>
              </a:buClr>
            </a:pPr>
            <a:r>
              <a:rPr lang="en-AU" sz="1600" dirty="0">
                <a:solidFill>
                  <a:srgbClr val="FFFFFF"/>
                </a:solidFill>
                <a:latin typeface="Garamond"/>
              </a:rPr>
              <a:t>Text</a:t>
            </a:r>
          </a:p>
        </p:txBody>
      </p:sp>
      <p:sp>
        <p:nvSpPr>
          <p:cNvPr id="16" name="Rectangle 10"/>
          <p:cNvSpPr>
            <a:spLocks noChangeArrowheads="1"/>
          </p:cNvSpPr>
          <p:nvPr/>
        </p:nvSpPr>
        <p:spPr bwMode="auto">
          <a:xfrm>
            <a:off x="3945957" y="3822243"/>
            <a:ext cx="1456012" cy="340735"/>
          </a:xfrm>
          <a:prstGeom prst="rect">
            <a:avLst/>
          </a:prstGeom>
          <a:noFill/>
          <a:ln w="9525">
            <a:noFill/>
            <a:miter lim="800000"/>
            <a:headEnd/>
            <a:tailEnd/>
          </a:ln>
          <a:effectLst/>
        </p:spPr>
        <p:txBody>
          <a:bodyPr wrap="square" lIns="90000" tIns="46800" rIns="90000" bIns="46800">
            <a:prstTxWarp prst="textNoShape">
              <a:avLst/>
            </a:prstTxWarp>
            <a:spAutoFit/>
          </a:bodyPr>
          <a:lstStyle/>
          <a:p>
            <a:pPr defTabSz="787261">
              <a:buClr>
                <a:schemeClr val="accent1"/>
              </a:buClr>
            </a:pPr>
            <a:r>
              <a:rPr lang="en-AU" sz="1600" dirty="0">
                <a:solidFill>
                  <a:srgbClr val="FFFFFF"/>
                </a:solidFill>
                <a:latin typeface="Garamond"/>
              </a:rPr>
              <a:t>Text</a:t>
            </a:r>
          </a:p>
        </p:txBody>
      </p:sp>
      <p:sp>
        <p:nvSpPr>
          <p:cNvPr id="17" name="Rectangle 11"/>
          <p:cNvSpPr>
            <a:spLocks noChangeArrowheads="1"/>
          </p:cNvSpPr>
          <p:nvPr/>
        </p:nvSpPr>
        <p:spPr bwMode="auto">
          <a:xfrm>
            <a:off x="5827592" y="2654470"/>
            <a:ext cx="954960" cy="340735"/>
          </a:xfrm>
          <a:prstGeom prst="rect">
            <a:avLst/>
          </a:prstGeom>
          <a:noFill/>
          <a:ln w="9525">
            <a:noFill/>
            <a:miter lim="800000"/>
            <a:headEnd/>
            <a:tailEnd/>
          </a:ln>
          <a:effectLst/>
        </p:spPr>
        <p:txBody>
          <a:bodyPr wrap="square" lIns="90000" tIns="46800" rIns="90000" bIns="46800">
            <a:prstTxWarp prst="textNoShape">
              <a:avLst/>
            </a:prstTxWarp>
            <a:spAutoFit/>
          </a:bodyPr>
          <a:lstStyle/>
          <a:p>
            <a:pPr defTabSz="787261">
              <a:buClr>
                <a:schemeClr val="accent1"/>
              </a:buClr>
            </a:pPr>
            <a:r>
              <a:rPr lang="en-AU" sz="1600" dirty="0">
                <a:solidFill>
                  <a:srgbClr val="FFFFFF"/>
                </a:solidFill>
                <a:latin typeface="Garamond"/>
              </a:rPr>
              <a:t>Text</a:t>
            </a:r>
          </a:p>
        </p:txBody>
      </p:sp>
      <p:sp>
        <p:nvSpPr>
          <p:cNvPr id="19" name="Title 3"/>
          <p:cNvSpPr txBox="1">
            <a:spLocks/>
          </p:cNvSpPr>
          <p:nvPr>
            <p:custDataLst>
              <p:tags r:id="rId3"/>
            </p:custDataLst>
          </p:nvPr>
        </p:nvSpPr>
        <p:spPr>
          <a:xfrm>
            <a:off x="754204" y="5545148"/>
            <a:ext cx="6891495" cy="822961"/>
          </a:xfrm>
          <a:prstGeom prst="rect">
            <a:avLst/>
          </a:prstGeom>
        </p:spPr>
        <p:txBody>
          <a:bodyPr vert="horz" lIns="80133" tIns="40067" rIns="80133" bIns="40067" rtlCol="0" anchor="b" anchorCtr="0">
            <a:normAutofit/>
          </a:bodyPr>
          <a:lstStyle>
            <a:lvl1pPr algn="l" defTabSz="914239" rtl="0" eaLnBrk="1" latinLnBrk="0" hangingPunct="1">
              <a:spcBef>
                <a:spcPct val="0"/>
              </a:spcBef>
              <a:buNone/>
              <a:defRPr sz="2800" kern="1200">
                <a:solidFill>
                  <a:schemeClr val="accent1"/>
                </a:solidFill>
                <a:latin typeface="Garamond" pitchFamily="18" charset="0"/>
                <a:ea typeface="+mj-ea"/>
                <a:cs typeface="+mj-cs"/>
              </a:defRPr>
            </a:lvl1pPr>
          </a:lstStyle>
          <a:p>
            <a:r>
              <a:rPr lang="en-GB" sz="1200" dirty="0">
                <a:solidFill>
                  <a:schemeClr val="tx2"/>
                </a:solidFill>
              </a:rPr>
              <a:t>Footnotes and assumptions: list</a:t>
            </a:r>
          </a:p>
          <a:p>
            <a:r>
              <a:rPr lang="en-GB" sz="1200" dirty="0">
                <a:solidFill>
                  <a:schemeClr val="tx2"/>
                </a:solidFill>
              </a:rPr>
              <a:t>Source: List sources</a:t>
            </a:r>
          </a:p>
        </p:txBody>
      </p:sp>
      <p:sp>
        <p:nvSpPr>
          <p:cNvPr id="20" name="Rectangle 4"/>
          <p:cNvSpPr>
            <a:spLocks noGrp="1" noChangeArrowheads="1"/>
          </p:cNvSpPr>
          <p:nvPr>
            <p:ph type="title"/>
            <p:custDataLst>
              <p:tags r:id="rId4"/>
            </p:custDataLst>
          </p:nvPr>
        </p:nvSpPr>
        <p:spPr/>
        <p:txBody>
          <a:bodyPr/>
          <a:lstStyle/>
          <a:p>
            <a:r>
              <a:rPr lang="en-GB" dirty="0" smtClean="0"/>
              <a:t>Message title – </a:t>
            </a:r>
            <a:r>
              <a:rPr lang="en-US" dirty="0" smtClean="0"/>
              <a:t>why are you showing it? flow</a:t>
            </a:r>
            <a:endParaRPr lang="en-GB" dirty="0"/>
          </a:p>
        </p:txBody>
      </p:sp>
      <p:sp>
        <p:nvSpPr>
          <p:cNvPr id="5" name="Footer Placeholder 4"/>
          <p:cNvSpPr>
            <a:spLocks noGrp="1"/>
          </p:cNvSpPr>
          <p:nvPr>
            <p:ph type="ftr" sz="quarter" idx="3"/>
          </p:nvPr>
        </p:nvSpPr>
        <p:spPr/>
        <p:txBody>
          <a:bodyPr/>
          <a:lstStyle/>
          <a:p>
            <a:r>
              <a:rPr lang="en-US" dirty="0" smtClean="0"/>
              <a:t>neil young |neil@ogcommunicationdesign.com |www.ogcommunicationdesign.com</a:t>
            </a:r>
            <a:endParaRPr lang="en-US" dirty="0"/>
          </a:p>
        </p:txBody>
      </p:sp>
      <p:sp>
        <p:nvSpPr>
          <p:cNvPr id="24" name="Slide Number Placeholder 23"/>
          <p:cNvSpPr>
            <a:spLocks noGrp="1"/>
          </p:cNvSpPr>
          <p:nvPr>
            <p:ph type="sldNum" sz="quarter" idx="4"/>
            <p:custDataLst>
              <p:tags r:id="rId5"/>
            </p:custDataLst>
          </p:nvPr>
        </p:nvSpPr>
        <p:spPr/>
        <p:txBody>
          <a:bodyPr/>
          <a:lstStyle/>
          <a:p>
            <a:fld id="{27F67E6B-0F24-40AE-9272-914C56B63673}" type="slidenum">
              <a:rPr lang="en-AU" smtClean="0"/>
              <a:pPr/>
              <a:t>6</a:t>
            </a:fld>
            <a:r>
              <a:rPr lang="en-AU" dirty="0" smtClean="0"/>
              <a:t> </a:t>
            </a:r>
            <a:endParaRPr lang="en-AU" dirty="0"/>
          </a:p>
        </p:txBody>
      </p:sp>
      <p:sp>
        <p:nvSpPr>
          <p:cNvPr id="18" name="TextBox 17"/>
          <p:cNvSpPr txBox="1"/>
          <p:nvPr>
            <p:custDataLst>
              <p:tags r:id="rId6"/>
            </p:custDataLst>
          </p:nvPr>
        </p:nvSpPr>
        <p:spPr>
          <a:xfrm>
            <a:off x="755338" y="1481982"/>
            <a:ext cx="7606753" cy="362896"/>
          </a:xfrm>
          <a:prstGeom prst="rect">
            <a:avLst/>
          </a:prstGeom>
          <a:noFill/>
        </p:spPr>
        <p:txBody>
          <a:bodyPr wrap="square" lIns="80147" tIns="40074" rIns="80147" bIns="40074" rtlCol="0">
            <a:spAutoFit/>
          </a:bodyPr>
          <a:lstStyle/>
          <a:p>
            <a:r>
              <a:rPr lang="en-ZW" dirty="0">
                <a:latin typeface="Garamond" pitchFamily="18" charset="0"/>
              </a:rPr>
              <a:t>Title – what are you showing on this page?</a:t>
            </a:r>
          </a:p>
        </p:txBody>
      </p:sp>
    </p:spTree>
    <p:extLst>
      <p:ext uri="{BB962C8B-B14F-4D97-AF65-F5344CB8AC3E}">
        <p14:creationId xmlns:p14="http://schemas.microsoft.com/office/powerpoint/2010/main" val="127169332"/>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6921167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13" name="think-cell Slide" r:id="rId8" imgW="6350000" imgH="6350000" progId="TCLayout.ActiveDocument.1">
                  <p:embed/>
                </p:oleObj>
              </mc:Choice>
              <mc:Fallback>
                <p:oleObj name="think-cell Slide" r:id="rId8" imgW="6350000" imgH="6350000" progId="TCLayout.ActiveDocument.1">
                  <p:embed/>
                  <p:pic>
                    <p:nvPicPr>
                      <p:cNvPr id="0" name="Picture 10"/>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AutoShape 2"/>
          <p:cNvSpPr>
            <a:spLocks noChangeArrowheads="1"/>
          </p:cNvSpPr>
          <p:nvPr/>
        </p:nvSpPr>
        <p:spPr bwMode="auto">
          <a:xfrm>
            <a:off x="5274030" y="2184398"/>
            <a:ext cx="2360450" cy="2946765"/>
          </a:xfrm>
          <a:prstGeom prst="rightArrow">
            <a:avLst>
              <a:gd name="adj1" fmla="val 83000"/>
              <a:gd name="adj2" fmla="val 28583"/>
            </a:avLst>
          </a:prstGeom>
          <a:solidFill>
            <a:schemeClr val="tx2"/>
          </a:solidFill>
          <a:ln w="9525">
            <a:solidFill>
              <a:schemeClr val="bg1"/>
            </a:solidFill>
            <a:miter lim="800000"/>
            <a:headEnd/>
            <a:tailEnd/>
          </a:ln>
          <a:effectLst/>
        </p:spPr>
        <p:txBody>
          <a:bodyPr lIns="80147" tIns="40074" rIns="80147" bIns="40074">
            <a:prstTxWarp prst="textNoShape">
              <a:avLst/>
            </a:prstTxWarp>
          </a:bodyPr>
          <a:lstStyle/>
          <a:p>
            <a:pPr indent="-269827"/>
            <a:endParaRPr lang="en-AU" sz="1600" dirty="0">
              <a:solidFill>
                <a:schemeClr val="bg1"/>
              </a:solidFill>
              <a:latin typeface="Garamond"/>
            </a:endParaRPr>
          </a:p>
        </p:txBody>
      </p:sp>
      <p:sp>
        <p:nvSpPr>
          <p:cNvPr id="11" name="AutoShape 4"/>
          <p:cNvSpPr>
            <a:spLocks noChangeArrowheads="1"/>
          </p:cNvSpPr>
          <p:nvPr/>
        </p:nvSpPr>
        <p:spPr bwMode="auto">
          <a:xfrm>
            <a:off x="3732512" y="2437244"/>
            <a:ext cx="2072562" cy="2456220"/>
          </a:xfrm>
          <a:prstGeom prst="rightArrow">
            <a:avLst>
              <a:gd name="adj1" fmla="val 86333"/>
              <a:gd name="adj2" fmla="val 25546"/>
            </a:avLst>
          </a:prstGeom>
          <a:solidFill>
            <a:schemeClr val="tx2"/>
          </a:solidFill>
          <a:ln w="9525">
            <a:solidFill>
              <a:schemeClr val="bg1"/>
            </a:solidFill>
            <a:miter lim="800000"/>
            <a:headEnd/>
            <a:tailEnd/>
          </a:ln>
          <a:effectLst/>
        </p:spPr>
        <p:txBody>
          <a:bodyPr lIns="80147" tIns="40074" rIns="80147" bIns="40074">
            <a:prstTxWarp prst="textNoShape">
              <a:avLst/>
            </a:prstTxWarp>
          </a:bodyPr>
          <a:lstStyle/>
          <a:p>
            <a:pPr indent="-269827"/>
            <a:endParaRPr lang="en-AU" sz="1600" dirty="0">
              <a:solidFill>
                <a:schemeClr val="bg1"/>
              </a:solidFill>
              <a:latin typeface="Garamond"/>
            </a:endParaRPr>
          </a:p>
        </p:txBody>
      </p:sp>
      <p:sp>
        <p:nvSpPr>
          <p:cNvPr id="12" name="AutoShape 5"/>
          <p:cNvSpPr>
            <a:spLocks noChangeArrowheads="1"/>
          </p:cNvSpPr>
          <p:nvPr/>
        </p:nvSpPr>
        <p:spPr bwMode="auto">
          <a:xfrm>
            <a:off x="2500674" y="2606197"/>
            <a:ext cx="1847758" cy="2114819"/>
          </a:xfrm>
          <a:prstGeom prst="rightArrow">
            <a:avLst>
              <a:gd name="adj1" fmla="val 84574"/>
              <a:gd name="adj2" fmla="val 33208"/>
            </a:avLst>
          </a:prstGeom>
          <a:solidFill>
            <a:schemeClr val="tx2"/>
          </a:solidFill>
          <a:ln w="9525">
            <a:solidFill>
              <a:schemeClr val="bg1"/>
            </a:solidFill>
            <a:miter lim="800000"/>
            <a:headEnd/>
            <a:tailEnd/>
          </a:ln>
          <a:effectLst/>
        </p:spPr>
        <p:txBody>
          <a:bodyPr lIns="80147" tIns="40074" rIns="80147" bIns="40074">
            <a:prstTxWarp prst="textNoShape">
              <a:avLst/>
            </a:prstTxWarp>
          </a:bodyPr>
          <a:lstStyle/>
          <a:p>
            <a:pPr indent="-269827"/>
            <a:endParaRPr lang="en-AU" sz="1600" dirty="0">
              <a:solidFill>
                <a:schemeClr val="bg1"/>
              </a:solidFill>
              <a:latin typeface="Garamond"/>
            </a:endParaRPr>
          </a:p>
        </p:txBody>
      </p:sp>
      <p:sp>
        <p:nvSpPr>
          <p:cNvPr id="13" name="AutoShape 6"/>
          <p:cNvSpPr>
            <a:spLocks noChangeArrowheads="1"/>
          </p:cNvSpPr>
          <p:nvPr/>
        </p:nvSpPr>
        <p:spPr bwMode="auto">
          <a:xfrm>
            <a:off x="1548694" y="2773984"/>
            <a:ext cx="1442879" cy="1780410"/>
          </a:xfrm>
          <a:prstGeom prst="rightArrow">
            <a:avLst>
              <a:gd name="adj1" fmla="val 78657"/>
              <a:gd name="adj2" fmla="val 33861"/>
            </a:avLst>
          </a:prstGeom>
          <a:solidFill>
            <a:schemeClr val="tx2"/>
          </a:solidFill>
          <a:ln w="9525">
            <a:solidFill>
              <a:schemeClr val="bg1"/>
            </a:solidFill>
            <a:miter lim="800000"/>
            <a:headEnd/>
            <a:tailEnd/>
          </a:ln>
          <a:effectLst/>
        </p:spPr>
        <p:txBody>
          <a:bodyPr lIns="80147" tIns="40074" rIns="80147" bIns="40074">
            <a:prstTxWarp prst="textNoShape">
              <a:avLst/>
            </a:prstTxWarp>
          </a:bodyPr>
          <a:lstStyle/>
          <a:p>
            <a:pPr indent="-269827"/>
            <a:endParaRPr lang="en-AU" sz="1600" dirty="0">
              <a:solidFill>
                <a:schemeClr val="bg1"/>
              </a:solidFill>
              <a:latin typeface="Garamond"/>
            </a:endParaRPr>
          </a:p>
        </p:txBody>
      </p:sp>
      <p:sp>
        <p:nvSpPr>
          <p:cNvPr id="14" name="Text Box 7"/>
          <p:cNvSpPr txBox="1">
            <a:spLocks noChangeArrowheads="1"/>
          </p:cNvSpPr>
          <p:nvPr/>
        </p:nvSpPr>
        <p:spPr bwMode="auto">
          <a:xfrm>
            <a:off x="1571633" y="3086256"/>
            <a:ext cx="1032267" cy="338554"/>
          </a:xfrm>
          <a:prstGeom prst="rect">
            <a:avLst/>
          </a:prstGeom>
          <a:noFill/>
          <a:ln w="9525">
            <a:noFill/>
            <a:miter lim="800000"/>
            <a:headEnd/>
            <a:tailEnd/>
          </a:ln>
          <a:effectLst/>
        </p:spPr>
        <p:txBody>
          <a:bodyPr wrap="square">
            <a:prstTxWarp prst="textNoShape">
              <a:avLst/>
            </a:prstTxWarp>
            <a:spAutoFit/>
          </a:bodyPr>
          <a:lstStyle/>
          <a:p>
            <a:r>
              <a:rPr lang="nb-NO" sz="1600" dirty="0">
                <a:solidFill>
                  <a:srgbClr val="FFFFFF"/>
                </a:solidFill>
                <a:latin typeface="Garamond"/>
              </a:rPr>
              <a:t>Text</a:t>
            </a:r>
            <a:endParaRPr lang="en-US" sz="1600" dirty="0">
              <a:solidFill>
                <a:srgbClr val="FFFFFF"/>
              </a:solidFill>
              <a:latin typeface="Garamond"/>
            </a:endParaRPr>
          </a:p>
        </p:txBody>
      </p:sp>
      <p:sp>
        <p:nvSpPr>
          <p:cNvPr id="15" name="Text Box 8"/>
          <p:cNvSpPr txBox="1">
            <a:spLocks noChangeArrowheads="1"/>
          </p:cNvSpPr>
          <p:nvPr/>
        </p:nvSpPr>
        <p:spPr bwMode="auto">
          <a:xfrm>
            <a:off x="2954872" y="2898659"/>
            <a:ext cx="1032267" cy="338554"/>
          </a:xfrm>
          <a:prstGeom prst="rect">
            <a:avLst/>
          </a:prstGeom>
          <a:noFill/>
          <a:ln w="9525">
            <a:noFill/>
            <a:miter lim="800000"/>
            <a:headEnd/>
            <a:tailEnd/>
          </a:ln>
          <a:effectLst/>
        </p:spPr>
        <p:txBody>
          <a:bodyPr wrap="square">
            <a:prstTxWarp prst="textNoShape">
              <a:avLst/>
            </a:prstTxWarp>
            <a:spAutoFit/>
          </a:bodyPr>
          <a:lstStyle/>
          <a:p>
            <a:r>
              <a:rPr lang="nb-NO" sz="1600" dirty="0">
                <a:solidFill>
                  <a:srgbClr val="FFFFFF"/>
                </a:solidFill>
                <a:latin typeface="Garamond"/>
              </a:rPr>
              <a:t>Text</a:t>
            </a:r>
            <a:endParaRPr lang="en-US" sz="1600" dirty="0">
              <a:solidFill>
                <a:srgbClr val="FFFFFF"/>
              </a:solidFill>
              <a:latin typeface="Garamond"/>
            </a:endParaRPr>
          </a:p>
        </p:txBody>
      </p:sp>
      <p:sp>
        <p:nvSpPr>
          <p:cNvPr id="16" name="Text Box 9"/>
          <p:cNvSpPr txBox="1">
            <a:spLocks noChangeArrowheads="1"/>
          </p:cNvSpPr>
          <p:nvPr/>
        </p:nvSpPr>
        <p:spPr bwMode="auto">
          <a:xfrm>
            <a:off x="4327786" y="2700577"/>
            <a:ext cx="1032267" cy="338554"/>
          </a:xfrm>
          <a:prstGeom prst="rect">
            <a:avLst/>
          </a:prstGeom>
          <a:noFill/>
          <a:ln w="9525">
            <a:noFill/>
            <a:miter lim="800000"/>
            <a:headEnd/>
            <a:tailEnd/>
          </a:ln>
          <a:effectLst/>
        </p:spPr>
        <p:txBody>
          <a:bodyPr wrap="square">
            <a:prstTxWarp prst="textNoShape">
              <a:avLst/>
            </a:prstTxWarp>
            <a:spAutoFit/>
          </a:bodyPr>
          <a:lstStyle/>
          <a:p>
            <a:r>
              <a:rPr lang="nb-NO" sz="1600" dirty="0">
                <a:solidFill>
                  <a:srgbClr val="FFFFFF"/>
                </a:solidFill>
                <a:latin typeface="Garamond"/>
              </a:rPr>
              <a:t>Text</a:t>
            </a:r>
            <a:endParaRPr lang="en-US" sz="1600" dirty="0">
              <a:solidFill>
                <a:srgbClr val="FFFFFF"/>
              </a:solidFill>
              <a:latin typeface="Garamond"/>
            </a:endParaRPr>
          </a:p>
        </p:txBody>
      </p:sp>
      <p:sp>
        <p:nvSpPr>
          <p:cNvPr id="17" name="Text Box 10"/>
          <p:cNvSpPr txBox="1">
            <a:spLocks noChangeArrowheads="1"/>
          </p:cNvSpPr>
          <p:nvPr/>
        </p:nvSpPr>
        <p:spPr bwMode="auto">
          <a:xfrm>
            <a:off x="5808515" y="2577067"/>
            <a:ext cx="1032267" cy="338554"/>
          </a:xfrm>
          <a:prstGeom prst="rect">
            <a:avLst/>
          </a:prstGeom>
          <a:noFill/>
          <a:ln w="9525">
            <a:noFill/>
            <a:miter lim="800000"/>
            <a:headEnd/>
            <a:tailEnd/>
          </a:ln>
          <a:effectLst/>
        </p:spPr>
        <p:txBody>
          <a:bodyPr wrap="square">
            <a:prstTxWarp prst="textNoShape">
              <a:avLst/>
            </a:prstTxWarp>
            <a:spAutoFit/>
          </a:bodyPr>
          <a:lstStyle/>
          <a:p>
            <a:r>
              <a:rPr lang="nb-NO" sz="1600" dirty="0">
                <a:solidFill>
                  <a:srgbClr val="FFFFFF"/>
                </a:solidFill>
                <a:latin typeface="Garamond"/>
              </a:rPr>
              <a:t>Text</a:t>
            </a:r>
            <a:endParaRPr lang="en-US" sz="1600" dirty="0">
              <a:solidFill>
                <a:srgbClr val="FFFFFF"/>
              </a:solidFill>
              <a:latin typeface="Garamond"/>
            </a:endParaRPr>
          </a:p>
        </p:txBody>
      </p:sp>
      <p:sp>
        <p:nvSpPr>
          <p:cNvPr id="19" name="Title 3"/>
          <p:cNvSpPr txBox="1">
            <a:spLocks/>
          </p:cNvSpPr>
          <p:nvPr>
            <p:custDataLst>
              <p:tags r:id="rId3"/>
            </p:custDataLst>
          </p:nvPr>
        </p:nvSpPr>
        <p:spPr>
          <a:xfrm>
            <a:off x="754204" y="5545148"/>
            <a:ext cx="6891495" cy="822961"/>
          </a:xfrm>
          <a:prstGeom prst="rect">
            <a:avLst/>
          </a:prstGeom>
        </p:spPr>
        <p:txBody>
          <a:bodyPr vert="horz" lIns="80133" tIns="40067" rIns="80133" bIns="40067" rtlCol="0" anchor="b" anchorCtr="0">
            <a:normAutofit/>
          </a:bodyPr>
          <a:lstStyle>
            <a:lvl1pPr algn="l" defTabSz="914239" rtl="0" eaLnBrk="1" latinLnBrk="0" hangingPunct="1">
              <a:spcBef>
                <a:spcPct val="0"/>
              </a:spcBef>
              <a:buNone/>
              <a:defRPr sz="2800" kern="1200">
                <a:solidFill>
                  <a:schemeClr val="accent1"/>
                </a:solidFill>
                <a:latin typeface="Garamond" pitchFamily="18" charset="0"/>
                <a:ea typeface="+mj-ea"/>
                <a:cs typeface="+mj-cs"/>
              </a:defRPr>
            </a:lvl1pPr>
          </a:lstStyle>
          <a:p>
            <a:r>
              <a:rPr lang="en-GB" sz="1200" dirty="0">
                <a:solidFill>
                  <a:schemeClr val="tx2"/>
                </a:solidFill>
              </a:rPr>
              <a:t>Footnotes and assumptions: list</a:t>
            </a:r>
          </a:p>
          <a:p>
            <a:r>
              <a:rPr lang="en-GB" sz="1200" dirty="0">
                <a:solidFill>
                  <a:schemeClr val="tx2"/>
                </a:solidFill>
              </a:rPr>
              <a:t>Source: List sources</a:t>
            </a:r>
          </a:p>
        </p:txBody>
      </p:sp>
      <p:sp>
        <p:nvSpPr>
          <p:cNvPr id="20" name="Rectangle 4"/>
          <p:cNvSpPr>
            <a:spLocks noGrp="1" noChangeArrowheads="1"/>
          </p:cNvSpPr>
          <p:nvPr>
            <p:ph type="title"/>
            <p:custDataLst>
              <p:tags r:id="rId4"/>
            </p:custDataLst>
          </p:nvPr>
        </p:nvSpPr>
        <p:spPr/>
        <p:txBody>
          <a:bodyPr/>
          <a:lstStyle/>
          <a:p>
            <a:r>
              <a:rPr lang="en-GB" dirty="0" smtClean="0"/>
              <a:t>Message title – </a:t>
            </a:r>
            <a:r>
              <a:rPr lang="en-US" dirty="0" smtClean="0"/>
              <a:t>why are you showing it? flow</a:t>
            </a:r>
            <a:endParaRPr lang="en-GB" dirty="0"/>
          </a:p>
        </p:txBody>
      </p:sp>
      <p:sp>
        <p:nvSpPr>
          <p:cNvPr id="5" name="Footer Placeholder 4"/>
          <p:cNvSpPr>
            <a:spLocks noGrp="1"/>
          </p:cNvSpPr>
          <p:nvPr>
            <p:ph type="ftr" sz="quarter" idx="3"/>
          </p:nvPr>
        </p:nvSpPr>
        <p:spPr/>
        <p:txBody>
          <a:bodyPr/>
          <a:lstStyle/>
          <a:p>
            <a:r>
              <a:rPr lang="en-US" dirty="0" smtClean="0"/>
              <a:t>neil young |neil@ogcommunicationdesign.com |www.ogcommunicationdesign.com</a:t>
            </a:r>
            <a:endParaRPr lang="en-US" dirty="0"/>
          </a:p>
        </p:txBody>
      </p:sp>
      <p:sp>
        <p:nvSpPr>
          <p:cNvPr id="24" name="Slide Number Placeholder 23"/>
          <p:cNvSpPr>
            <a:spLocks noGrp="1"/>
          </p:cNvSpPr>
          <p:nvPr>
            <p:ph type="sldNum" sz="quarter" idx="4"/>
            <p:custDataLst>
              <p:tags r:id="rId5"/>
            </p:custDataLst>
          </p:nvPr>
        </p:nvSpPr>
        <p:spPr/>
        <p:txBody>
          <a:bodyPr/>
          <a:lstStyle/>
          <a:p>
            <a:fld id="{27F67E6B-0F24-40AE-9272-914C56B63673}" type="slidenum">
              <a:rPr lang="en-AU" smtClean="0"/>
              <a:pPr/>
              <a:t>7</a:t>
            </a:fld>
            <a:r>
              <a:rPr lang="en-AU" dirty="0" smtClean="0"/>
              <a:t> </a:t>
            </a:r>
            <a:endParaRPr lang="en-AU" dirty="0"/>
          </a:p>
        </p:txBody>
      </p:sp>
      <p:sp>
        <p:nvSpPr>
          <p:cNvPr id="18" name="TextBox 17"/>
          <p:cNvSpPr txBox="1"/>
          <p:nvPr>
            <p:custDataLst>
              <p:tags r:id="rId6"/>
            </p:custDataLst>
          </p:nvPr>
        </p:nvSpPr>
        <p:spPr>
          <a:xfrm>
            <a:off x="755338" y="1481982"/>
            <a:ext cx="7606753" cy="362896"/>
          </a:xfrm>
          <a:prstGeom prst="rect">
            <a:avLst/>
          </a:prstGeom>
          <a:noFill/>
        </p:spPr>
        <p:txBody>
          <a:bodyPr wrap="square" lIns="80147" tIns="40074" rIns="80147" bIns="40074" rtlCol="0">
            <a:spAutoFit/>
          </a:bodyPr>
          <a:lstStyle/>
          <a:p>
            <a:r>
              <a:rPr lang="en-ZW" dirty="0">
                <a:latin typeface="Garamond" pitchFamily="18" charset="0"/>
              </a:rPr>
              <a:t>Title – what are you showing on this page?</a:t>
            </a:r>
          </a:p>
        </p:txBody>
      </p:sp>
    </p:spTree>
    <p:extLst>
      <p:ext uri="{BB962C8B-B14F-4D97-AF65-F5344CB8AC3E}">
        <p14:creationId xmlns:p14="http://schemas.microsoft.com/office/powerpoint/2010/main" val="127169332"/>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8192015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37" name="think-cell Slide" r:id="rId8" imgW="6350000" imgH="6350000" progId="TCLayout.ActiveDocument.1">
                  <p:embed/>
                </p:oleObj>
              </mc:Choice>
              <mc:Fallback>
                <p:oleObj name="think-cell Slide" r:id="rId8" imgW="6350000" imgH="6350000" progId="TCLayout.ActiveDocument.1">
                  <p:embed/>
                  <p:pic>
                    <p:nvPicPr>
                      <p:cNvPr id="0" name="Picture 10"/>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AutoShape 3"/>
          <p:cNvSpPr>
            <a:spLocks noChangeArrowheads="1"/>
          </p:cNvSpPr>
          <p:nvPr/>
        </p:nvSpPr>
        <p:spPr bwMode="auto">
          <a:xfrm>
            <a:off x="2305906" y="2725445"/>
            <a:ext cx="5198256" cy="2459613"/>
          </a:xfrm>
          <a:prstGeom prst="rightArrow">
            <a:avLst>
              <a:gd name="adj1" fmla="val 61028"/>
              <a:gd name="adj2" fmla="val 52836"/>
            </a:avLst>
          </a:prstGeom>
          <a:solidFill>
            <a:srgbClr val="4F81BD"/>
          </a:solidFill>
          <a:ln w="9525">
            <a:solidFill>
              <a:srgbClr val="FFFFFF"/>
            </a:solidFill>
            <a:miter lim="800000"/>
            <a:headEnd/>
            <a:tailEnd/>
          </a:ln>
          <a:effectLst/>
        </p:spPr>
        <p:txBody>
          <a:bodyPr wrap="none" lIns="104306" tIns="52153" rIns="104306" bIns="52153" anchor="ctr">
            <a:prstTxWarp prst="textNoShape">
              <a:avLst/>
            </a:prstTxWarp>
          </a:bodyPr>
          <a:lstStyle/>
          <a:p>
            <a:endParaRPr lang="en-AU" sz="1600" dirty="0">
              <a:solidFill>
                <a:srgbClr val="FFFFFF"/>
              </a:solidFill>
              <a:latin typeface="Garamond"/>
            </a:endParaRPr>
          </a:p>
        </p:txBody>
      </p:sp>
      <p:sp>
        <p:nvSpPr>
          <p:cNvPr id="11" name="AutoShape 4"/>
          <p:cNvSpPr>
            <a:spLocks noChangeArrowheads="1"/>
          </p:cNvSpPr>
          <p:nvPr/>
        </p:nvSpPr>
        <p:spPr bwMode="auto">
          <a:xfrm>
            <a:off x="2736079" y="2282353"/>
            <a:ext cx="1576012" cy="1577305"/>
          </a:xfrm>
          <a:prstGeom prst="downArrow">
            <a:avLst>
              <a:gd name="adj1" fmla="val 73769"/>
              <a:gd name="adj2" fmla="val 41395"/>
            </a:avLst>
          </a:prstGeom>
          <a:solidFill>
            <a:schemeClr val="tx2"/>
          </a:solidFill>
          <a:ln w="9525">
            <a:solidFill>
              <a:srgbClr val="FFFFFF"/>
            </a:solidFill>
            <a:miter lim="800000"/>
            <a:headEnd/>
            <a:tailEnd/>
          </a:ln>
          <a:effectLst/>
        </p:spPr>
        <p:txBody>
          <a:bodyPr lIns="80147" tIns="40074" rIns="80147" bIns="40074">
            <a:prstTxWarp prst="textNoShape">
              <a:avLst/>
            </a:prstTxWarp>
          </a:bodyPr>
          <a:lstStyle/>
          <a:p>
            <a:pPr indent="-269827"/>
            <a:endParaRPr lang="en-AU" sz="1600" dirty="0">
              <a:solidFill>
                <a:schemeClr val="bg1"/>
              </a:solidFill>
              <a:latin typeface="Garamond"/>
            </a:endParaRPr>
          </a:p>
        </p:txBody>
      </p:sp>
      <p:sp>
        <p:nvSpPr>
          <p:cNvPr id="12" name="AutoShape 5"/>
          <p:cNvSpPr>
            <a:spLocks noChangeArrowheads="1"/>
          </p:cNvSpPr>
          <p:nvPr/>
        </p:nvSpPr>
        <p:spPr bwMode="auto">
          <a:xfrm flipV="1">
            <a:off x="2714119" y="4028885"/>
            <a:ext cx="1630268" cy="1453290"/>
          </a:xfrm>
          <a:prstGeom prst="downArrow">
            <a:avLst>
              <a:gd name="adj1" fmla="val 69898"/>
              <a:gd name="adj2" fmla="val 46403"/>
            </a:avLst>
          </a:prstGeom>
          <a:solidFill>
            <a:schemeClr val="tx2"/>
          </a:solidFill>
          <a:ln w="9525">
            <a:solidFill>
              <a:srgbClr val="FFFFFF"/>
            </a:solidFill>
            <a:miter lim="800000"/>
            <a:headEnd/>
            <a:tailEnd/>
          </a:ln>
          <a:effectLst/>
        </p:spPr>
        <p:txBody>
          <a:bodyPr lIns="80147" tIns="40074" rIns="80147" bIns="40074">
            <a:prstTxWarp prst="textNoShape">
              <a:avLst/>
            </a:prstTxWarp>
          </a:bodyPr>
          <a:lstStyle/>
          <a:p>
            <a:pPr indent="-269827"/>
            <a:endParaRPr lang="en-AU" sz="1600" dirty="0">
              <a:solidFill>
                <a:schemeClr val="bg1"/>
              </a:solidFill>
              <a:latin typeface="Garamond"/>
            </a:endParaRPr>
          </a:p>
        </p:txBody>
      </p:sp>
      <p:sp>
        <p:nvSpPr>
          <p:cNvPr id="13" name="AutoShape 6"/>
          <p:cNvSpPr>
            <a:spLocks noChangeArrowheads="1"/>
          </p:cNvSpPr>
          <p:nvPr/>
        </p:nvSpPr>
        <p:spPr bwMode="auto">
          <a:xfrm>
            <a:off x="1623828" y="3271883"/>
            <a:ext cx="1824040" cy="1331860"/>
          </a:xfrm>
          <a:prstGeom prst="rightArrow">
            <a:avLst>
              <a:gd name="adj1" fmla="val 71287"/>
              <a:gd name="adj2" fmla="val 59943"/>
            </a:avLst>
          </a:prstGeom>
          <a:solidFill>
            <a:schemeClr val="tx2"/>
          </a:solidFill>
          <a:ln w="9525">
            <a:solidFill>
              <a:srgbClr val="FFFFFF"/>
            </a:solidFill>
            <a:miter lim="800000"/>
            <a:headEnd/>
            <a:tailEnd/>
          </a:ln>
          <a:effectLst/>
        </p:spPr>
        <p:txBody>
          <a:bodyPr lIns="80147" tIns="40074" rIns="80147" bIns="40074">
            <a:prstTxWarp prst="textNoShape">
              <a:avLst/>
            </a:prstTxWarp>
          </a:bodyPr>
          <a:lstStyle/>
          <a:p>
            <a:pPr indent="-269827"/>
            <a:r>
              <a:rPr lang="nb-NO" sz="1600" dirty="0">
                <a:solidFill>
                  <a:schemeClr val="bg1"/>
                </a:solidFill>
                <a:latin typeface="Garamond"/>
              </a:rPr>
              <a:t>Text</a:t>
            </a:r>
            <a:endParaRPr lang="en-US" sz="1600" dirty="0">
              <a:solidFill>
                <a:schemeClr val="bg1"/>
              </a:solidFill>
              <a:latin typeface="Garamond"/>
            </a:endParaRPr>
          </a:p>
        </p:txBody>
      </p:sp>
      <p:sp>
        <p:nvSpPr>
          <p:cNvPr id="14" name="Text Box 7"/>
          <p:cNvSpPr txBox="1">
            <a:spLocks noChangeArrowheads="1"/>
          </p:cNvSpPr>
          <p:nvPr/>
        </p:nvSpPr>
        <p:spPr bwMode="auto">
          <a:xfrm>
            <a:off x="2999610" y="2310775"/>
            <a:ext cx="1088998" cy="351546"/>
          </a:xfrm>
          <a:prstGeom prst="rect">
            <a:avLst/>
          </a:prstGeom>
          <a:noFill/>
          <a:ln w="9525">
            <a:noFill/>
            <a:miter lim="800000"/>
            <a:headEnd/>
            <a:tailEnd/>
          </a:ln>
          <a:effectLst/>
        </p:spPr>
        <p:txBody>
          <a:bodyPr wrap="square" lIns="104306" tIns="52153" rIns="104306" bIns="52153">
            <a:prstTxWarp prst="textNoShape">
              <a:avLst/>
            </a:prstTxWarp>
            <a:spAutoFit/>
          </a:bodyPr>
          <a:lstStyle/>
          <a:p>
            <a:r>
              <a:rPr lang="nb-NO" sz="1600" dirty="0">
                <a:solidFill>
                  <a:srgbClr val="FFFFFF"/>
                </a:solidFill>
                <a:latin typeface="Garamond"/>
              </a:rPr>
              <a:t>Text</a:t>
            </a:r>
            <a:endParaRPr lang="en-US" sz="1600" dirty="0">
              <a:solidFill>
                <a:srgbClr val="FFFFFF"/>
              </a:solidFill>
              <a:latin typeface="Garamond"/>
            </a:endParaRPr>
          </a:p>
        </p:txBody>
      </p:sp>
      <p:sp>
        <p:nvSpPr>
          <p:cNvPr id="15" name="Text Box 8"/>
          <p:cNvSpPr txBox="1">
            <a:spLocks noChangeArrowheads="1"/>
          </p:cNvSpPr>
          <p:nvPr/>
        </p:nvSpPr>
        <p:spPr bwMode="auto">
          <a:xfrm>
            <a:off x="2999610" y="4554653"/>
            <a:ext cx="1088998" cy="351546"/>
          </a:xfrm>
          <a:prstGeom prst="rect">
            <a:avLst/>
          </a:prstGeom>
          <a:noFill/>
          <a:ln w="9525">
            <a:noFill/>
            <a:miter lim="800000"/>
            <a:headEnd/>
            <a:tailEnd/>
          </a:ln>
          <a:effectLst/>
        </p:spPr>
        <p:txBody>
          <a:bodyPr wrap="square" lIns="104306" tIns="52153" rIns="104306" bIns="52153">
            <a:prstTxWarp prst="textNoShape">
              <a:avLst/>
            </a:prstTxWarp>
            <a:spAutoFit/>
          </a:bodyPr>
          <a:lstStyle/>
          <a:p>
            <a:r>
              <a:rPr lang="nb-NO" sz="1600" dirty="0">
                <a:solidFill>
                  <a:srgbClr val="FFFFFF"/>
                </a:solidFill>
                <a:latin typeface="Garamond"/>
              </a:rPr>
              <a:t>Text</a:t>
            </a:r>
            <a:endParaRPr lang="en-US" sz="1600" dirty="0">
              <a:solidFill>
                <a:srgbClr val="FFFFFF"/>
              </a:solidFill>
              <a:latin typeface="Garamond"/>
            </a:endParaRPr>
          </a:p>
        </p:txBody>
      </p:sp>
      <p:sp>
        <p:nvSpPr>
          <p:cNvPr id="16" name="Text Box 9"/>
          <p:cNvSpPr txBox="1">
            <a:spLocks noChangeArrowheads="1"/>
          </p:cNvSpPr>
          <p:nvPr/>
        </p:nvSpPr>
        <p:spPr bwMode="auto">
          <a:xfrm>
            <a:off x="4272044" y="3282217"/>
            <a:ext cx="2144409" cy="351546"/>
          </a:xfrm>
          <a:prstGeom prst="rect">
            <a:avLst/>
          </a:prstGeom>
          <a:noFill/>
          <a:ln w="9525">
            <a:noFill/>
            <a:miter lim="800000"/>
            <a:headEnd/>
            <a:tailEnd/>
          </a:ln>
          <a:effectLst/>
        </p:spPr>
        <p:txBody>
          <a:bodyPr wrap="square" lIns="104306" tIns="52153" rIns="104306" bIns="52153">
            <a:prstTxWarp prst="textNoShape">
              <a:avLst/>
            </a:prstTxWarp>
            <a:spAutoFit/>
          </a:bodyPr>
          <a:lstStyle/>
          <a:p>
            <a:r>
              <a:rPr lang="nb-NO" sz="1600" dirty="0">
                <a:solidFill>
                  <a:srgbClr val="FFFFFF"/>
                </a:solidFill>
                <a:latin typeface="Garamond"/>
              </a:rPr>
              <a:t>Text</a:t>
            </a:r>
            <a:endParaRPr lang="en-US" sz="1600" dirty="0">
              <a:solidFill>
                <a:srgbClr val="FFFFFF"/>
              </a:solidFill>
              <a:latin typeface="Garamond"/>
            </a:endParaRPr>
          </a:p>
        </p:txBody>
      </p:sp>
      <p:sp>
        <p:nvSpPr>
          <p:cNvPr id="18" name="Title 3"/>
          <p:cNvSpPr txBox="1">
            <a:spLocks/>
          </p:cNvSpPr>
          <p:nvPr>
            <p:custDataLst>
              <p:tags r:id="rId3"/>
            </p:custDataLst>
          </p:nvPr>
        </p:nvSpPr>
        <p:spPr>
          <a:xfrm>
            <a:off x="754204" y="5545148"/>
            <a:ext cx="6891495" cy="822961"/>
          </a:xfrm>
          <a:prstGeom prst="rect">
            <a:avLst/>
          </a:prstGeom>
        </p:spPr>
        <p:txBody>
          <a:bodyPr vert="horz" lIns="80133" tIns="40067" rIns="80133" bIns="40067" rtlCol="0" anchor="b" anchorCtr="0">
            <a:normAutofit/>
          </a:bodyPr>
          <a:lstStyle>
            <a:lvl1pPr algn="l" defTabSz="914239" rtl="0" eaLnBrk="1" latinLnBrk="0" hangingPunct="1">
              <a:spcBef>
                <a:spcPct val="0"/>
              </a:spcBef>
              <a:buNone/>
              <a:defRPr sz="2800" kern="1200">
                <a:solidFill>
                  <a:schemeClr val="accent1"/>
                </a:solidFill>
                <a:latin typeface="Garamond" pitchFamily="18" charset="0"/>
                <a:ea typeface="+mj-ea"/>
                <a:cs typeface="+mj-cs"/>
              </a:defRPr>
            </a:lvl1pPr>
          </a:lstStyle>
          <a:p>
            <a:r>
              <a:rPr lang="en-GB" sz="1200" dirty="0">
                <a:solidFill>
                  <a:schemeClr val="tx2"/>
                </a:solidFill>
              </a:rPr>
              <a:t>Footnotes and assumptions: list</a:t>
            </a:r>
          </a:p>
          <a:p>
            <a:r>
              <a:rPr lang="en-GB" sz="1200" dirty="0">
                <a:solidFill>
                  <a:schemeClr val="tx2"/>
                </a:solidFill>
              </a:rPr>
              <a:t>Source: List sources</a:t>
            </a:r>
          </a:p>
        </p:txBody>
      </p:sp>
      <p:sp>
        <p:nvSpPr>
          <p:cNvPr id="19" name="Rectangle 4"/>
          <p:cNvSpPr>
            <a:spLocks noGrp="1" noChangeArrowheads="1"/>
          </p:cNvSpPr>
          <p:nvPr>
            <p:ph type="title"/>
            <p:custDataLst>
              <p:tags r:id="rId4"/>
            </p:custDataLst>
          </p:nvPr>
        </p:nvSpPr>
        <p:spPr/>
        <p:txBody>
          <a:bodyPr/>
          <a:lstStyle/>
          <a:p>
            <a:r>
              <a:rPr lang="en-GB" dirty="0" smtClean="0"/>
              <a:t>Message title – </a:t>
            </a:r>
            <a:r>
              <a:rPr lang="en-US" dirty="0" smtClean="0"/>
              <a:t>why are you showing it? flow</a:t>
            </a:r>
            <a:endParaRPr lang="en-GB" dirty="0"/>
          </a:p>
        </p:txBody>
      </p:sp>
      <p:sp>
        <p:nvSpPr>
          <p:cNvPr id="5" name="Footer Placeholder 4"/>
          <p:cNvSpPr>
            <a:spLocks noGrp="1"/>
          </p:cNvSpPr>
          <p:nvPr>
            <p:ph type="ftr" sz="quarter" idx="3"/>
          </p:nvPr>
        </p:nvSpPr>
        <p:spPr/>
        <p:txBody>
          <a:bodyPr/>
          <a:lstStyle/>
          <a:p>
            <a:r>
              <a:rPr lang="en-US" dirty="0" smtClean="0"/>
              <a:t>neil young |neil@ogcommunicationdesign.com |www.ogcommunicationdesign.com</a:t>
            </a:r>
            <a:endParaRPr lang="en-US" dirty="0"/>
          </a:p>
        </p:txBody>
      </p:sp>
      <p:sp>
        <p:nvSpPr>
          <p:cNvPr id="22" name="Slide Number Placeholder 21"/>
          <p:cNvSpPr>
            <a:spLocks noGrp="1"/>
          </p:cNvSpPr>
          <p:nvPr>
            <p:ph type="sldNum" sz="quarter" idx="4"/>
            <p:custDataLst>
              <p:tags r:id="rId5"/>
            </p:custDataLst>
          </p:nvPr>
        </p:nvSpPr>
        <p:spPr/>
        <p:txBody>
          <a:bodyPr/>
          <a:lstStyle/>
          <a:p>
            <a:fld id="{27F67E6B-0F24-40AE-9272-914C56B63673}" type="slidenum">
              <a:rPr lang="en-AU" smtClean="0"/>
              <a:pPr/>
              <a:t>8</a:t>
            </a:fld>
            <a:r>
              <a:rPr lang="en-AU" dirty="0" smtClean="0"/>
              <a:t> </a:t>
            </a:r>
            <a:endParaRPr lang="en-AU" dirty="0"/>
          </a:p>
        </p:txBody>
      </p:sp>
      <p:sp>
        <p:nvSpPr>
          <p:cNvPr id="17" name="TextBox 16"/>
          <p:cNvSpPr txBox="1"/>
          <p:nvPr>
            <p:custDataLst>
              <p:tags r:id="rId6"/>
            </p:custDataLst>
          </p:nvPr>
        </p:nvSpPr>
        <p:spPr>
          <a:xfrm>
            <a:off x="755338" y="1481982"/>
            <a:ext cx="7606753" cy="362896"/>
          </a:xfrm>
          <a:prstGeom prst="rect">
            <a:avLst/>
          </a:prstGeom>
          <a:noFill/>
        </p:spPr>
        <p:txBody>
          <a:bodyPr wrap="square" lIns="80147" tIns="40074" rIns="80147" bIns="40074" rtlCol="0">
            <a:spAutoFit/>
          </a:bodyPr>
          <a:lstStyle/>
          <a:p>
            <a:r>
              <a:rPr lang="en-ZW" dirty="0">
                <a:latin typeface="Garamond" pitchFamily="18" charset="0"/>
              </a:rPr>
              <a:t>Title – what are you showing on this page?</a:t>
            </a:r>
          </a:p>
        </p:txBody>
      </p:sp>
    </p:spTree>
    <p:extLst>
      <p:ext uri="{BB962C8B-B14F-4D97-AF65-F5344CB8AC3E}">
        <p14:creationId xmlns:p14="http://schemas.microsoft.com/office/powerpoint/2010/main" val="127169332"/>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4"/>
</p:tagLst>
</file>

<file path=ppt/tags/tag10.xml><?xml version="1.0" encoding="utf-8"?>
<p:tagLst xmlns:a="http://schemas.openxmlformats.org/drawingml/2006/main" xmlns:r="http://schemas.openxmlformats.org/officeDocument/2006/relationships" xmlns:p="http://schemas.openxmlformats.org/presentationml/2006/main">
  <p:tag name="NAME" val="Bracket"/>
  <p:tag name="THINKCELLSHAPEDONOTDELETE" val="pK5jCerozJkG0DatbRM9e0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k.UqxsKieke9CRMF_c9vB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sB0fCCTDwka2PxMgF8A9x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U1bLs9w4X066AsvXwvIxO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VPsXg.CYIkezarnjRQnEW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mekGSxIkm_JZecnID_n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sB0fCCTDwka2PxMgF8A9x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YeAbpXPExk.J6Bx90o.cI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q9EJ6lJJlk.5p4zraG7CH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Y13.FwN2USN.425Jz8Y1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GuEYBiE6KUue76gJwTUYq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P_261Qxkr0GkYDOM.W1Lx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yMBAJTE50U2V7FiSpeBiS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sB0fCCTDwka2PxMgF8A9x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X9OBPHPGvk.k1dxyOdFkg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3kEdDIzj0uUEBJ.KZBad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GhceaPbCwUiC0rQqub7Ux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etKMyo1OdkOqpYDNV3n3H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V95D8xVTdkW6YE1wSJrfl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9YzmVx7EWSkWOtPxALc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uIeLxf999kWnt088zlma7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7Wr82RGcNE.9L8vRuTCME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sB0fCCTDwka2PxMgF8A9x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k2xnUnuX.EiYj9I9mmr49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mGNVWJBb7UytfzRpjy.e9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HY6nbrlgOkOx6l5qqteIN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Mc..565u5kqawtGiI34ML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ZhjCd6n9vU2if770XFv_O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PmMuFF3ZJEeNu35w3H2Rr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SveQFDKtYUSEjfCq.4WA6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WtLP28Sj7Um_mJjfvwpHV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_Lx1rOg3j0mVEhjTMSWyX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AYoZcnd6D0mlAJzcE1HI4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sB0fCCTDwka2PxMgF8A9x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PDyBDG6Y60Co5PQ2MgkRA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1KsMR1bxhUSHMsLdHNRTB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1JGy0gjvck60hrGpshGIp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deWC2.dT6UWGkjyv5l2Vd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EW9lXIzIXEe2BAlvRCZl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7rSqVZORTEOU00jptJ8PN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loxCNEZO7Eebnp1fwiXSO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IXw5SwoQBkC.eyJl16AFm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ncruvLCZwE27uznKDWxTo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p32.cvi5wU6Mr_WtBagKC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Lbq9WsjI1E2nw5V2jc.N_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sB0fCCTDwka2PxMgF8A9x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2D_k1bvJ1Uu4xB6qwYLLZ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9Xb5e5uDCUKWckSFFHnXt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t1guOUNBjka2lg9VWp22iQ"/>
</p:tagLst>
</file>

<file path=ppt/tags/tag15.xml><?xml version="1.0" encoding="utf-8"?>
<p:tagLst xmlns:a="http://schemas.openxmlformats.org/drawingml/2006/main" xmlns:r="http://schemas.openxmlformats.org/officeDocument/2006/relationships" xmlns:p="http://schemas.openxmlformats.org/presentationml/2006/main">
  <p:tag name="TOP" val=" 207"/>
  <p:tag name="LEFT" val=" 143.875"/>
  <p:tag name="THINKCELLSHAPEDONOTDELETE" val="pCWT3lpZKzUmf3U62U1jDN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pdsaCwaqrkaSF8FdBfLuU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_s1g5NnJKkKK8Pv3WGBBS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mTv81BRuTUyF6U4q3IB0B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7rKdMVY5qEqb5.ru022p9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7rKdMVY5qEqb5.ru022p9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7rKdMVY5qEqb5.ru022p9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7rKdMVY5qEqb5.ru022p9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7rKdMVY5qEqb5.ru022p9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7rKdMVY5qEqb5.ru022p9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7rKdMVY5qEqb5.ru022p9A"/>
</p:tagLst>
</file>

<file path=ppt/tags/tag16.xml><?xml version="1.0" encoding="utf-8"?>
<p:tagLst xmlns:a="http://schemas.openxmlformats.org/drawingml/2006/main" xmlns:r="http://schemas.openxmlformats.org/officeDocument/2006/relationships" xmlns:p="http://schemas.openxmlformats.org/presentationml/2006/main">
  <p:tag name="LEFT" val=" 143.875"/>
  <p:tag name="TOP" val=" 207"/>
  <p:tag name="THINKCELLSHAPEDONOTDELETE" val="pp73SSAfelUmWQewlN7TfX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7rKdMVY5qEqb5.ru022p9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ajemrdOA_UuIDB87cUnld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l4R2pNABy0SsGbcv881NB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9_C.ueRDFEC42Zf.bVhA3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XQE05m06oEe7s0Cpieb9Q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ZxMv2RZIQUqV0hRBLOguY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nAdFic9HE0mdT0BwJi4G2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sB0fCCTDwka2PxMgF8A9x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oOukTmzekKE9Lp9LXLVI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8fjN84ed_k6T8.7Gk62x0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GUNNEBEMI0K7gz14F6NC3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jgXhSlNxgkqxOihzySYNe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sB0fCCTDwka2PxMgF8A9x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0cMDG4O5hEqN90YLCbQ0Q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Q0Qr0iblH0aBEqFlL_PhL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oiYWhMRK.EenujDuUgGoj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sB0fCCTDwka2PxMgF8A9x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zE8XhHaUkuoFG2B1hdGP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8fjyq2WvPUmTN5LMR0w7.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CemokOG7YEeDyyZp4TIRk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tvYMop8y0.Ib9MXwPP61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BfgnmNpjLE6n3T1HMD49I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CeyEAnLdAkW0USmcVKTjj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LO1v111xxkWAhAp4mJojq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n8y2AKwJCkKm7D2Io3qs2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nMa6QYF7NU2nStj3hHaV0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lT327i7FW0e9IGDvTvJhE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5gy24lMyZkycufsXbfy3X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VAo4UlomKU.zXx01sTenm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jWgyQFsElEuD7CKg9ag6.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Gw11zxmliEK3qUK6l0zaW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AtFFC1jzjEyka6Z0TPYLf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7yBN8BOwk0q2FXYfoSHHn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FlyFNc_1OkiEevL3vTDba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7qObxN4OBEmuts7lGjMkj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mxRD596TjES.N_BpwuRU7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_Q16Ic12A0GhimFwBcW1W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FQEbELwOuUW1r64eQ7GgV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HNzkM2uVkEG9uqardmgG7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A0Ba0GXlU.5V77pnk1Dt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e.dxT3v90U2yRKdWt4LfU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sB0fCCTDwka2PxMgF8A9x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7wC2UJZmJUWfNqzqeO6n8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7n9Um2H600yBAozcNefV_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ZssuR.dN3k6wqjj55errf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sB0fCCTDwka2PxMgF8A9x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MQ7L_8X.F0K8bhs6nyECh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h_2vkY7zxk6QodgRwYGq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IZ4lRj3vNUmRipyJd_eFp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ZrUFJ4GExUSqq__F410_y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EW8IlAMvxUmhZGBWnTKk2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TDKhpyhPqkuLtb2lKCrv8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dkyuoJnhM0ySoY2OyXV7b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G6LOlWdyD02Y1Jvh11drU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NqQgW9sgzkGMtvnv0qH1L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UjrmiedGGEiST1T6NMwpP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YH7wFYOLSkSK2Eh42g.k0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KiAT1GjTgEa3W1niUZaNR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UQPJaOyUhke8A6eesCoV.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bZusdc6Rka3Xkb3iaIEe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0MP23_oyTk6AGku.rIuG9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Axpfx3DGlkSXvu1lhI0WL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azaZckaUlkWuhqvIVm4yf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xqpUvQFptkiVAB3PK9X8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1vb1U20PSkikz73yEFenw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9Qxs.XJaxEK37PIkvZIXD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u6d8mfweK0WtKE2rRxkXh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FOfW2d9K.UK4EFLo1wpDM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wox1iAYhKUyY5Um9wWO88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K5IROpeSIEOmXlKSETDSD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dC5_OZTxUyI96HJjdnB6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sB0fCCTDwka2PxMgF8A9x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uGHk5ocUA0S7OB9LZX4w2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hafsrxqw906jEzlUBoRF7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LlQBNaDmdUOT.PZ1tbWzc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sB0fCCTDwka2PxMgF8A9x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wJcBaG6WYkic0Ed3TZaau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u2HwXtuZB0mjByZxnKc35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PtJ_u42RVEKv.M.mCnsf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IxpGVDwP0SrWmNkQZ0DH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sB0fCCTDwka2PxMgF8A9x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gOMUZughT0CqTSZkBeBfR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k972vrRCLkWmlnFNvrLzD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2Rxl1TmGoUaTjJ1ozZ_35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sB0fCCTDwka2PxMgF8A9x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hf..mpWb9EaAtIqG7WDjU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eDqFrO6u1k2pkq93SoJqh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LZlgcP5J.EO_U8S4W6Zq4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KhXRQ9UR0y5ak8mGtRA2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sB0fCCTDwka2PxMgF8A9x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cQrdhM.Z00GU_7_zq8Z1q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8DvDODVojUmX2iy10Om_Dw"/>
</p:tagLst>
</file>

<file path=ppt/tags/tag254.xml><?xml version="1.0" encoding="utf-8"?>
<p:tagLst xmlns:a="http://schemas.openxmlformats.org/drawingml/2006/main" xmlns:r="http://schemas.openxmlformats.org/officeDocument/2006/relationships" xmlns:p="http://schemas.openxmlformats.org/presentationml/2006/main">
  <p:tag name="LEFT" val=" 143.875"/>
  <p:tag name="TOP" val=" 207"/>
  <p:tag name="THINKCELLSHAPEDONOTDELETE" val="srt31hXvrUOZPBli.OySs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BNozbQZM406brfrGDymFCw"/>
</p:tagLst>
</file>

<file path=ppt/tags/tag256.xml><?xml version="1.0" encoding="utf-8"?>
<p:tagLst xmlns:a="http://schemas.openxmlformats.org/drawingml/2006/main" xmlns:r="http://schemas.openxmlformats.org/officeDocument/2006/relationships" xmlns:p="http://schemas.openxmlformats.org/presentationml/2006/main">
  <p:tag name="TOP" val=" 207"/>
  <p:tag name="LEFT" val=" 143.875"/>
  <p:tag name="THINKCELLSHAPEDONOTDELETE" val="VL3_yUTsCUyNB8iZFY6j9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cUUYYStph06X5e.3mMv0f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CkI0qTryk0KOVQFoEw8rl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UquLlxis4UuVQ5HZOxYsdQ"/>
</p:tagLst>
</file>

<file path=ppt/tags/tag26.xml><?xml version="1.0" encoding="utf-8"?>
<p:tagLst xmlns:a="http://schemas.openxmlformats.org/drawingml/2006/main" xmlns:r="http://schemas.openxmlformats.org/officeDocument/2006/relationships" xmlns:p="http://schemas.openxmlformats.org/presentationml/2006/main">
  <p:tag name="NAME" val="Moon"/>
  <p:tag name="THINKCELLSHAPEDONOTDELETE" val="pORSXuSfUp0OrYN8SbMye0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sB0fCCTDwka2PxMgF8A9x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C29AEblUq02NtI2DlXZg3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V4TRWgqJRE.b90Bry.V1y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2qROEyWxKk.eppViWoj0M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sB0fCCTDwka2PxMgF8A9x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pVSiKIPPn0apohCEwUCb5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SepX1.XIk6oUxWwax5m2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6YMUvJechUCXxrOYqSK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G4XWfRyeEyxwm1h2ms4vw"/>
</p:tagLst>
</file>

<file path=ppt/tags/tag30.xml><?xml version="1.0" encoding="utf-8"?>
<p:tagLst xmlns:a="http://schemas.openxmlformats.org/drawingml/2006/main" xmlns:r="http://schemas.openxmlformats.org/officeDocument/2006/relationships" xmlns:p="http://schemas.openxmlformats.org/presentationml/2006/main">
  <p:tag name="NAME" val="Moon"/>
  <p:tag name="THINKCELLSHAPEDONOTDELETE" val="pYa154Fhk.0m4TMEA4QGP6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yPq4uwZ_Ok67Z3jgGvQRf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7R0ab18B0mzeS9CGr.5t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WSGaH9wvk0iPLOv3fxZdS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YQGx8Zv2FkCHReo.2hi_S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9McgF7cK50SFWh38NXtWZ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230jlKpnfUqv4OnBNpOOU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7xJWllkz.kqYDOh81qdGK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XqdK5nAKEiM614GXhN51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9lll4ouDhEaj4MGbA2jbp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wMynwuN5HE6EepGzT_yoV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f938TKykm8yol3fq70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1jPcF9ezgU.r.wwOp5Jsm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JgrHW04cE.VPkuk4xoWW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lN_Zrc4NUyaqYYjRVGCJ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O2dVwUQdqEWc.2yt8T7l6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gwQp_g9s0a34qBlAeWfi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mtxVKf3va0icvbSQknbKA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w1dAlJICs0qPbbK8fM7SwQ"/>
</p:tagLst>
</file>

<file path=ppt/tags/tag49.xml><?xml version="1.0" encoding="utf-8"?>
<p:tagLst xmlns:a="http://schemas.openxmlformats.org/drawingml/2006/main" xmlns:r="http://schemas.openxmlformats.org/officeDocument/2006/relationships" xmlns:p="http://schemas.openxmlformats.org/presentationml/2006/main">
  <p:tag name="NAME" val="MoonShap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05ZZtSPukm1q8T_GHUqJQ"/>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1.xml><?xml version="1.0" encoding="utf-8"?>
<p:tagLst xmlns:a="http://schemas.openxmlformats.org/drawingml/2006/main" xmlns:r="http://schemas.openxmlformats.org/officeDocument/2006/relationships" xmlns:p="http://schemas.openxmlformats.org/presentationml/2006/main">
  <p:tag name="NAME" val="MoonShape"/>
</p:tagLst>
</file>

<file path=ppt/tags/tag5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3.xml><?xml version="1.0" encoding="utf-8"?>
<p:tagLst xmlns:a="http://schemas.openxmlformats.org/drawingml/2006/main" xmlns:r="http://schemas.openxmlformats.org/officeDocument/2006/relationships" xmlns:p="http://schemas.openxmlformats.org/presentationml/2006/main">
  <p:tag name="NAME" val="MoonShape"/>
</p:tagLst>
</file>

<file path=ppt/tags/tag54.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55.xml><?xml version="1.0" encoding="utf-8"?>
<p:tagLst xmlns:a="http://schemas.openxmlformats.org/drawingml/2006/main" xmlns:r="http://schemas.openxmlformats.org/officeDocument/2006/relationships" xmlns:p="http://schemas.openxmlformats.org/presentationml/2006/main">
  <p:tag name="NAME" val="MoonShape"/>
</p:tagLst>
</file>

<file path=ppt/tags/tag5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7.xml><?xml version="1.0" encoding="utf-8"?>
<p:tagLst xmlns:a="http://schemas.openxmlformats.org/drawingml/2006/main" xmlns:r="http://schemas.openxmlformats.org/officeDocument/2006/relationships" xmlns:p="http://schemas.openxmlformats.org/presentationml/2006/main">
  <p:tag name="NAME" val="MoonShape"/>
</p:tagLst>
</file>

<file path=ppt/tags/tag5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IX35.0CK02FIHFbppBjI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oP_LtSGwAkaWtueIGeM_X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hSsh1wXRYUGOh6fXD98Bv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73ygSE2njkaVIYn0CYZvy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sB0fCCTDwka2PxMgF8A9x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fWIOnY17c0eeCOI7_f30t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dtNjDib_VUiTmPID3l5cM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gGqTFAsuq0WqLtDIp7LNM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GDzP6dSFrU.Yar2qFbJaF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GtrWBEn2eU22N5bFhKvSQ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tsXS2M_D9kKwKdb6FAeF3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X6AGF_ikPkSzHqpRTN6k.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Pp6HxHF85kqIqtrIQi9k.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Ocdn6_E.UC916WcWNaZf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nwP64cC2rEC.18s0ta7Rk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iAgp590yykeB0yWN7ZHaM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sB0fCCTDwka2PxMgF8A9x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xEemTt5mWkeAQUuZdCBr_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GGaPhPCtvUS2oaeboRWX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CEpiqOaHkO7wXCr3dNzw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lIwM_hsLUS1h.c4BFC9S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sB0fCCTDwka2PxMgF8A9x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t1hGxn2KxkKGbHFi22PCv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TGkuv03OD0.hD30RZtK3p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utWn3MBzaEKR7aYbI6Pe_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sB0fCCTDwka2PxMgF8A9x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CNB6v7BM4k.sq9gJrgDnN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2Er7yEdJEE.NKW6DSNHUK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myse.aqKtU.imEkkHIr1r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sB0fCCTDwka2PxMgF8A9x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rSuenn3hTUasR3K.zod4t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s2HDubarcEKVQewiwHdmP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sxCEfabKykKLAaphk7_y_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sB0fCCTDwka2PxMgF8A9x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17gFKHV9x0S9QqEYlZW2b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CJ6S68zCrkCdUvdTThf.1Q"/>
</p:tagLst>
</file>

<file path=ppt/theme/theme1.xml><?xml version="1.0" encoding="utf-8"?>
<a:theme xmlns:a="http://schemas.openxmlformats.org/drawingml/2006/main" name="RC Library new template">
  <a:themeElements>
    <a:clrScheme name="Custom 127">
      <a:dk1>
        <a:srgbClr val="1F497D"/>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lackTie">
      <a:majorFont>
        <a:latin typeface="Garamond"/>
        <a:ea typeface=""/>
        <a:cs typeface=""/>
        <a:font script="Grek" typeface="Constantia"/>
        <a:font script="Cyrl" typeface="Constantia"/>
        <a:font script="Jpan" typeface="ＭＳ Ｐ明朝"/>
        <a:font script="Hang" typeface="궁서"/>
        <a:font script="Hans" typeface="仿宋"/>
        <a:font script="Hant" typeface="標楷體"/>
        <a:font script="Arab" typeface="Times New Roman"/>
        <a:font script="Hebr" typeface="Times New Roman"/>
        <a:font script="Thai" typeface="Angsan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Garamond"/>
        <a:ea typeface=""/>
        <a:cs typeface=""/>
        <a:font script="Grek" typeface="Constantia"/>
        <a:font script="Cyrl" typeface="Constantia"/>
        <a:font script="Jpan" typeface="ＭＳ Ｐ明朝"/>
        <a:font script="Hang" typeface="궁서"/>
        <a:font script="Hans" typeface="仿宋"/>
        <a:font script="Hant" typeface="標楷體"/>
        <a:font script="Arab" typeface="Times New Roman"/>
        <a:font script="Hebr" typeface="Times New Roman"/>
        <a:font script="Thai" typeface="Angsan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w="57150" cap="flat" cmpd="sng" algn="ctr">
          <a:solidFill>
            <a:schemeClr val="bg1"/>
          </a:solidFill>
          <a:prstDash val="solid"/>
          <a:round/>
          <a:headEnd type="none" w="med" len="med"/>
          <a:tailEnd type="none" w="med" len="med"/>
        </a:ln>
        <a:effectLst/>
      </a:spPr>
      <a:bodyPr rtlCol="0" anchor="ctr"/>
      <a:lstStyle>
        <a:defPPr algn="ctr">
          <a:defRPr/>
        </a:defPPr>
      </a:lstStyle>
      <a:style>
        <a:lnRef idx="2">
          <a:schemeClr val="accent1"/>
        </a:lnRef>
        <a:fillRef idx="0">
          <a:schemeClr val="accent1"/>
        </a:fillRef>
        <a:effectRef idx="1">
          <a:schemeClr val="accent1"/>
        </a:effectRef>
        <a:fontRef idx="minor">
          <a:schemeClr val="tx1"/>
        </a:fontRef>
      </a:style>
    </a:spDef>
    <a:txDef>
      <a:spPr>
        <a:noFill/>
      </a:spPr>
      <a:bodyPr wrap="square" rtlCol="0">
        <a:spAutoFit/>
      </a:bodyPr>
      <a:lstStyle>
        <a:defPPr>
          <a:defRPr sz="1600" dirty="0" err="1" smtClean="0">
            <a:latin typeface="Garamond" pitchFamily="18"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082</TotalTime>
  <Words>1286</Words>
  <Application>Microsoft Macintosh PowerPoint</Application>
  <PresentationFormat>On-screen Show (4:3)</PresentationFormat>
  <Paragraphs>310</Paragraphs>
  <Slides>27</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29" baseType="lpstr">
      <vt:lpstr>RC Library new template</vt:lpstr>
      <vt:lpstr>think-cell Slide</vt:lpstr>
      <vt:lpstr>What follows is a complete diagram library of over 300 tables, flows, processes and other concepts waiting for text to be added. Words imply – but pictures demonstrate - use these solutions to better show relationships between elements of your page content. Think of this as a collection of solutions ready for problems – shapes and lines waiting for the text from bullet point PowerPoint pages to be added.   If you would like my input on visualising a particular concept; or help with the look &amp; feel, or format, of a presentation; or any  other assistance with getting across your messages, ideas or arguments please contact me.  See our website for further information or email us if you have any further questions.   Neil Young  neil@ogcommunicationdesign.com |www.ogcommunicationdesign.com</vt:lpstr>
      <vt:lpstr>Commonly used images</vt:lpstr>
      <vt:lpstr>Message title – why are you showing it? flow</vt:lpstr>
      <vt:lpstr>Message title – why are you showing it? flow</vt:lpstr>
      <vt:lpstr>Message title – why are you showing it? matrix</vt:lpstr>
      <vt:lpstr>Message title – why are you showing it? matrix</vt:lpstr>
      <vt:lpstr>Message title – why are you showing it? flow</vt:lpstr>
      <vt:lpstr>Message title – why are you showing it? flow</vt:lpstr>
      <vt:lpstr>Message title – why are you showing it? flow</vt:lpstr>
      <vt:lpstr>Message title – why are you showing it? flow</vt:lpstr>
      <vt:lpstr>Message title – why are you showing it? flow</vt:lpstr>
      <vt:lpstr>Message title – why are you showing it? flow</vt:lpstr>
      <vt:lpstr>Message title – why are you showing it? flow</vt:lpstr>
      <vt:lpstr>Message title – why are you showing it? flow</vt:lpstr>
      <vt:lpstr>Message title – why are you showing it? flow</vt:lpstr>
      <vt:lpstr>Message title – why are you showing it? flow</vt:lpstr>
      <vt:lpstr>Message title – why are you showing it? flow</vt:lpstr>
      <vt:lpstr>Message title – why are you showing it? flow</vt:lpstr>
      <vt:lpstr>Message title – why are you showing it? flow</vt:lpstr>
      <vt:lpstr>Message title – why are you showing it? flow</vt:lpstr>
      <vt:lpstr>Message title – why are you showing it? target</vt:lpstr>
      <vt:lpstr>Message title – why are you showing it? cogs</vt:lpstr>
      <vt:lpstr>Message title – why are you showing it? cogs</vt:lpstr>
      <vt:lpstr>Message title – why are you showing it? cogs</vt:lpstr>
      <vt:lpstr>Message title – why are you showing it? filter</vt:lpstr>
      <vt:lpstr>Message title – why are you showing it? circle structure</vt:lpstr>
      <vt:lpstr>Message title – why are you showing it? circle flow</vt:lpstr>
    </vt:vector>
  </TitlesOfParts>
  <Company>Orient Global</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Jamie Eng</dc:creator>
  <cp:lastModifiedBy>Davina Stanley</cp:lastModifiedBy>
  <cp:revision>378</cp:revision>
  <dcterms:created xsi:type="dcterms:W3CDTF">2012-08-12T22:27:55Z</dcterms:created>
  <dcterms:modified xsi:type="dcterms:W3CDTF">2014-05-25T09:36: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4368393</vt:lpwstr>
  </property>
  <property fmtid="{D5CDD505-2E9C-101B-9397-08002B2CF9AE}" pid="3" name="NXPowerLiteSettings">
    <vt:lpwstr>B74006B004C800</vt:lpwstr>
  </property>
  <property fmtid="{D5CDD505-2E9C-101B-9397-08002B2CF9AE}" pid="4" name="NXPowerLiteVersion">
    <vt:lpwstr>D5.0.3</vt:lpwstr>
  </property>
</Properties>
</file>